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7.xml" ContentType="application/vnd.openxmlformats-officedocument.theme+xml"/>
  <Override PartName="/ppt/tags/tag54.xml" ContentType="application/vnd.openxmlformats-officedocument.presentationml.tags+xml"/>
  <Override PartName="/ppt/notesSlides/notesSlide1.xml" ContentType="application/vnd.openxmlformats-officedocument.presentationml.notesSlide+xml"/>
  <Override PartName="/ppt/tags/tag55.xml" ContentType="application/vnd.openxmlformats-officedocument.presentationml.tags+xml"/>
  <Override PartName="/ppt/notesSlides/notesSlide2.xml" ContentType="application/vnd.openxmlformats-officedocument.presentationml.notesSlide+xml"/>
  <Override PartName="/ppt/tags/tag56.xml" ContentType="application/vnd.openxmlformats-officedocument.presentationml.tags+xml"/>
  <Override PartName="/ppt/notesSlides/notesSlide3.xml" ContentType="application/vnd.openxmlformats-officedocument.presentationml.notesSlide+xml"/>
  <Override PartName="/ppt/tags/tag57.xml" ContentType="application/vnd.openxmlformats-officedocument.presentationml.tags+xml"/>
  <Override PartName="/ppt/notesSlides/notesSlide4.xml" ContentType="application/vnd.openxmlformats-officedocument.presentationml.notesSlide+xml"/>
  <Override PartName="/ppt/tags/tag58.xml" ContentType="application/vnd.openxmlformats-officedocument.presentationml.tags+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notesSlides/notesSlide7.xml" ContentType="application/vnd.openxmlformats-officedocument.presentationml.notesSlide+xml"/>
  <Override PartName="/ppt/tags/tag61.xml" ContentType="application/vnd.openxmlformats-officedocument.presentationml.tags+xml"/>
  <Override PartName="/ppt/notesSlides/notesSlide8.xml" ContentType="application/vnd.openxmlformats-officedocument.presentationml.notesSlide+xml"/>
  <Override PartName="/ppt/tags/tag62.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6" r:id="rId4"/>
    <p:sldMasterId id="2147483721" r:id="rId5"/>
    <p:sldMasterId id="2147483724" r:id="rId6"/>
    <p:sldMasterId id="2147483741" r:id="rId7"/>
    <p:sldMasterId id="2147483753" r:id="rId8"/>
    <p:sldMasterId id="2147483763" r:id="rId9"/>
  </p:sldMasterIdLst>
  <p:notesMasterIdLst>
    <p:notesMasterId r:id="rId19"/>
  </p:notesMasterIdLst>
  <p:sldIdLst>
    <p:sldId id="303" r:id="rId10"/>
    <p:sldId id="305" r:id="rId11"/>
    <p:sldId id="329" r:id="rId12"/>
    <p:sldId id="330" r:id="rId13"/>
    <p:sldId id="333" r:id="rId14"/>
    <p:sldId id="352" r:id="rId15"/>
    <p:sldId id="349" r:id="rId16"/>
    <p:sldId id="350" r:id="rId17"/>
    <p:sldId id="353"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EDBA4"/>
    <a:srgbClr val="8DE3B7"/>
    <a:srgbClr val="FFFFFF"/>
    <a:srgbClr val="66CC99"/>
    <a:srgbClr val="000000"/>
    <a:srgbClr val="0A81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715" autoAdjust="0"/>
  </p:normalViewPr>
  <p:slideViewPr>
    <p:cSldViewPr snapToGrid="0">
      <p:cViewPr varScale="1">
        <p:scale>
          <a:sx n="63" d="100"/>
          <a:sy n="63" d="100"/>
        </p:scale>
        <p:origin x="760" y="3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Esteban Ortiz Carvajal" userId="c61208ed-cfc9-41db-b98e-8ca1e81cbf8a" providerId="ADAL" clId="{460B01F5-D0D7-4F46-BDC5-EE5905768D06}"/>
    <pc:docChg chg="undo custSel addSld delSld modSld modMainMaster replTag modNotesMaster">
      <pc:chgData name="Daniel Esteban Ortiz Carvajal" userId="c61208ed-cfc9-41db-b98e-8ca1e81cbf8a" providerId="ADAL" clId="{460B01F5-D0D7-4F46-BDC5-EE5905768D06}" dt="2022-08-10T14:59:41.867" v="11285" actId="20577"/>
      <pc:docMkLst>
        <pc:docMk/>
      </pc:docMkLst>
      <pc:sldChg chg="modSp del mod modNotes">
        <pc:chgData name="Daniel Esteban Ortiz Carvajal" userId="c61208ed-cfc9-41db-b98e-8ca1e81cbf8a" providerId="ADAL" clId="{460B01F5-D0D7-4F46-BDC5-EE5905768D06}" dt="2022-08-09T23:01:30.037" v="10521" actId="47"/>
        <pc:sldMkLst>
          <pc:docMk/>
          <pc:sldMk cId="1999709406" sldId="265"/>
        </pc:sldMkLst>
        <pc:spChg chg="mod">
          <ac:chgData name="Daniel Esteban Ortiz Carvajal" userId="c61208ed-cfc9-41db-b98e-8ca1e81cbf8a" providerId="ADAL" clId="{460B01F5-D0D7-4F46-BDC5-EE5905768D06}" dt="2022-08-09T19:52:13.860" v="6316" actId="947"/>
          <ac:spMkLst>
            <pc:docMk/>
            <pc:sldMk cId="1999709406" sldId="265"/>
            <ac:spMk id="2" creationId="{C274B575-B31C-415F-AF62-A305A7D4E415}"/>
          </ac:spMkLst>
        </pc:spChg>
        <pc:spChg chg="mod">
          <ac:chgData name="Daniel Esteban Ortiz Carvajal" userId="c61208ed-cfc9-41db-b98e-8ca1e81cbf8a" providerId="ADAL" clId="{460B01F5-D0D7-4F46-BDC5-EE5905768D06}" dt="2022-08-09T19:52:13.866" v="6318" actId="947"/>
          <ac:spMkLst>
            <pc:docMk/>
            <pc:sldMk cId="1999709406" sldId="265"/>
            <ac:spMk id="3" creationId="{9F907A29-1784-4E0C-A8FE-033C7E24E547}"/>
          </ac:spMkLst>
        </pc:spChg>
        <pc:spChg chg="mod">
          <ac:chgData name="Daniel Esteban Ortiz Carvajal" userId="c61208ed-cfc9-41db-b98e-8ca1e81cbf8a" providerId="ADAL" clId="{460B01F5-D0D7-4F46-BDC5-EE5905768D06}" dt="2022-08-09T19:52:13.876" v="6322" actId="20577"/>
          <ac:spMkLst>
            <pc:docMk/>
            <pc:sldMk cId="1999709406" sldId="265"/>
            <ac:spMk id="6" creationId="{1B910787-D403-4D8F-880F-C1267C8DF510}"/>
          </ac:spMkLst>
        </pc:spChg>
        <pc:spChg chg="mod">
          <ac:chgData name="Daniel Esteban Ortiz Carvajal" userId="c61208ed-cfc9-41db-b98e-8ca1e81cbf8a" providerId="ADAL" clId="{460B01F5-D0D7-4F46-BDC5-EE5905768D06}" dt="2022-08-09T19:52:13.876" v="6324" actId="947"/>
          <ac:spMkLst>
            <pc:docMk/>
            <pc:sldMk cId="1999709406" sldId="265"/>
            <ac:spMk id="7" creationId="{0A875C65-F8AE-41DF-8148-5FCD78A6295A}"/>
          </ac:spMkLst>
        </pc:spChg>
        <pc:graphicFrameChg chg="mod ord modVis replST">
          <ac:chgData name="Daniel Esteban Ortiz Carvajal" userId="c61208ed-cfc9-41db-b98e-8ca1e81cbf8a" providerId="ADAL" clId="{460B01F5-D0D7-4F46-BDC5-EE5905768D06}" dt="2022-08-09T19:52:19.896" v="8154" actId="1076"/>
          <ac:graphicFrameMkLst>
            <pc:docMk/>
            <pc:sldMk cId="1999709406" sldId="265"/>
            <ac:graphicFrameMk id="4" creationId="{163772E3-86F8-416F-85BD-CDA510DF5806}"/>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201936845" sldId="266"/>
        </pc:sldMkLst>
        <pc:spChg chg="mod">
          <ac:chgData name="Daniel Esteban Ortiz Carvajal" userId="c61208ed-cfc9-41db-b98e-8ca1e81cbf8a" providerId="ADAL" clId="{460B01F5-D0D7-4F46-BDC5-EE5905768D06}" dt="2022-08-09T19:52:13.886" v="6326" actId="947"/>
          <ac:spMkLst>
            <pc:docMk/>
            <pc:sldMk cId="1201936845" sldId="266"/>
            <ac:spMk id="2" creationId="{C274B575-B31C-415F-AF62-A305A7D4E415}"/>
          </ac:spMkLst>
        </pc:spChg>
        <pc:spChg chg="mod">
          <ac:chgData name="Daniel Esteban Ortiz Carvajal" userId="c61208ed-cfc9-41db-b98e-8ca1e81cbf8a" providerId="ADAL" clId="{460B01F5-D0D7-4F46-BDC5-EE5905768D06}" dt="2022-08-09T19:52:13.891" v="6328" actId="947"/>
          <ac:spMkLst>
            <pc:docMk/>
            <pc:sldMk cId="1201936845" sldId="266"/>
            <ac:spMk id="3" creationId="{9F907A29-1784-4E0C-A8FE-033C7E24E547}"/>
          </ac:spMkLst>
        </pc:spChg>
        <pc:spChg chg="mod">
          <ac:chgData name="Daniel Esteban Ortiz Carvajal" userId="c61208ed-cfc9-41db-b98e-8ca1e81cbf8a" providerId="ADAL" clId="{460B01F5-D0D7-4F46-BDC5-EE5905768D06}" dt="2022-08-09T19:52:13.896" v="6332" actId="20577"/>
          <ac:spMkLst>
            <pc:docMk/>
            <pc:sldMk cId="1201936845" sldId="266"/>
            <ac:spMk id="6" creationId="{1B910787-D403-4D8F-880F-C1267C8DF510}"/>
          </ac:spMkLst>
        </pc:spChg>
        <pc:spChg chg="mod">
          <ac:chgData name="Daniel Esteban Ortiz Carvajal" userId="c61208ed-cfc9-41db-b98e-8ca1e81cbf8a" providerId="ADAL" clId="{460B01F5-D0D7-4F46-BDC5-EE5905768D06}" dt="2022-08-09T19:52:13.896" v="6334" actId="947"/>
          <ac:spMkLst>
            <pc:docMk/>
            <pc:sldMk cId="1201936845" sldId="266"/>
            <ac:spMk id="7" creationId="{B9FAD3E6-80B2-4789-BC96-1E91B974E6F8}"/>
          </ac:spMkLst>
        </pc:spChg>
        <pc:graphicFrameChg chg="mod ord modVis replST">
          <ac:chgData name="Daniel Esteban Ortiz Carvajal" userId="c61208ed-cfc9-41db-b98e-8ca1e81cbf8a" providerId="ADAL" clId="{460B01F5-D0D7-4F46-BDC5-EE5905768D06}" dt="2022-08-09T19:52:19.970" v="8170" actId="1076"/>
          <ac:graphicFrameMkLst>
            <pc:docMk/>
            <pc:sldMk cId="1201936845" sldId="266"/>
            <ac:graphicFrameMk id="4" creationId="{D4F11CD0-008C-4D24-B4B6-6FA87595E9D8}"/>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705641673" sldId="267"/>
        </pc:sldMkLst>
        <pc:spChg chg="mod">
          <ac:chgData name="Daniel Esteban Ortiz Carvajal" userId="c61208ed-cfc9-41db-b98e-8ca1e81cbf8a" providerId="ADAL" clId="{460B01F5-D0D7-4F46-BDC5-EE5905768D06}" dt="2022-08-09T19:52:13.906" v="6336" actId="947"/>
          <ac:spMkLst>
            <pc:docMk/>
            <pc:sldMk cId="2705641673" sldId="267"/>
            <ac:spMk id="2" creationId="{C274B575-B31C-415F-AF62-A305A7D4E415}"/>
          </ac:spMkLst>
        </pc:spChg>
        <pc:spChg chg="mod">
          <ac:chgData name="Daniel Esteban Ortiz Carvajal" userId="c61208ed-cfc9-41db-b98e-8ca1e81cbf8a" providerId="ADAL" clId="{460B01F5-D0D7-4F46-BDC5-EE5905768D06}" dt="2022-08-09T19:52:13.906" v="6338" actId="947"/>
          <ac:spMkLst>
            <pc:docMk/>
            <pc:sldMk cId="2705641673" sldId="267"/>
            <ac:spMk id="3" creationId="{9F907A29-1784-4E0C-A8FE-033C7E24E547}"/>
          </ac:spMkLst>
        </pc:spChg>
        <pc:spChg chg="mod">
          <ac:chgData name="Daniel Esteban Ortiz Carvajal" userId="c61208ed-cfc9-41db-b98e-8ca1e81cbf8a" providerId="ADAL" clId="{460B01F5-D0D7-4F46-BDC5-EE5905768D06}" dt="2022-08-09T19:52:13.915" v="6342" actId="20577"/>
          <ac:spMkLst>
            <pc:docMk/>
            <pc:sldMk cId="2705641673" sldId="267"/>
            <ac:spMk id="6" creationId="{1B910787-D403-4D8F-880F-C1267C8DF510}"/>
          </ac:spMkLst>
        </pc:spChg>
        <pc:spChg chg="mod">
          <ac:chgData name="Daniel Esteban Ortiz Carvajal" userId="c61208ed-cfc9-41db-b98e-8ca1e81cbf8a" providerId="ADAL" clId="{460B01F5-D0D7-4F46-BDC5-EE5905768D06}" dt="2022-08-09T19:52:13.915" v="6344" actId="947"/>
          <ac:spMkLst>
            <pc:docMk/>
            <pc:sldMk cId="2705641673" sldId="267"/>
            <ac:spMk id="7" creationId="{3CA5FDB1-74E1-4DE2-880B-EE5AF18F59E6}"/>
          </ac:spMkLst>
        </pc:spChg>
        <pc:graphicFrameChg chg="mod ord modVis replST">
          <ac:chgData name="Daniel Esteban Ortiz Carvajal" userId="c61208ed-cfc9-41db-b98e-8ca1e81cbf8a" providerId="ADAL" clId="{460B01F5-D0D7-4F46-BDC5-EE5905768D06}" dt="2022-08-09T19:52:20.311" v="8234" actId="1076"/>
          <ac:graphicFrameMkLst>
            <pc:docMk/>
            <pc:sldMk cId="2705641673" sldId="267"/>
            <ac:graphicFrameMk id="4" creationId="{366428F9-A6D0-4A81-AD88-974064DEA583}"/>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694857152" sldId="268"/>
        </pc:sldMkLst>
        <pc:spChg chg="mod">
          <ac:chgData name="Daniel Esteban Ortiz Carvajal" userId="c61208ed-cfc9-41db-b98e-8ca1e81cbf8a" providerId="ADAL" clId="{460B01F5-D0D7-4F46-BDC5-EE5905768D06}" dt="2022-08-09T19:52:13.926" v="6346" actId="947"/>
          <ac:spMkLst>
            <pc:docMk/>
            <pc:sldMk cId="3694857152" sldId="268"/>
            <ac:spMk id="2" creationId="{AD82C5F7-7BCA-4FBD-8EFC-68E4B68B1485}"/>
          </ac:spMkLst>
        </pc:spChg>
        <pc:spChg chg="mod">
          <ac:chgData name="Daniel Esteban Ortiz Carvajal" userId="c61208ed-cfc9-41db-b98e-8ca1e81cbf8a" providerId="ADAL" clId="{460B01F5-D0D7-4F46-BDC5-EE5905768D06}" dt="2022-08-09T19:52:13.926" v="6348" actId="947"/>
          <ac:spMkLst>
            <pc:docMk/>
            <pc:sldMk cId="3694857152" sldId="268"/>
            <ac:spMk id="3" creationId="{98E9710C-B7BC-4E5F-965C-FC18958C4701}"/>
          </ac:spMkLst>
        </pc:spChg>
        <pc:graphicFrameChg chg="mod ord modVis replST">
          <ac:chgData name="Daniel Esteban Ortiz Carvajal" userId="c61208ed-cfc9-41db-b98e-8ca1e81cbf8a" providerId="ADAL" clId="{460B01F5-D0D7-4F46-BDC5-EE5905768D06}" dt="2022-08-09T19:52:20.356" v="8242" actId="1076"/>
          <ac:graphicFrameMkLst>
            <pc:docMk/>
            <pc:sldMk cId="3694857152" sldId="268"/>
            <ac:graphicFrameMk id="4" creationId="{F5D95291-E4F6-461C-BC89-148347D40500}"/>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829050953" sldId="269"/>
        </pc:sldMkLst>
        <pc:spChg chg="mod">
          <ac:chgData name="Daniel Esteban Ortiz Carvajal" userId="c61208ed-cfc9-41db-b98e-8ca1e81cbf8a" providerId="ADAL" clId="{460B01F5-D0D7-4F46-BDC5-EE5905768D06}" dt="2022-08-09T19:52:13.936" v="6350" actId="947"/>
          <ac:spMkLst>
            <pc:docMk/>
            <pc:sldMk cId="1829050953" sldId="269"/>
            <ac:spMk id="2" creationId="{C274B575-B31C-415F-AF62-A305A7D4E415}"/>
          </ac:spMkLst>
        </pc:spChg>
        <pc:spChg chg="mod">
          <ac:chgData name="Daniel Esteban Ortiz Carvajal" userId="c61208ed-cfc9-41db-b98e-8ca1e81cbf8a" providerId="ADAL" clId="{460B01F5-D0D7-4F46-BDC5-EE5905768D06}" dt="2022-08-09T19:52:13.941" v="6352" actId="947"/>
          <ac:spMkLst>
            <pc:docMk/>
            <pc:sldMk cId="1829050953" sldId="269"/>
            <ac:spMk id="3" creationId="{9F907A29-1784-4E0C-A8FE-033C7E24E547}"/>
          </ac:spMkLst>
        </pc:spChg>
        <pc:spChg chg="mod">
          <ac:chgData name="Daniel Esteban Ortiz Carvajal" userId="c61208ed-cfc9-41db-b98e-8ca1e81cbf8a" providerId="ADAL" clId="{460B01F5-D0D7-4F46-BDC5-EE5905768D06}" dt="2022-08-09T19:52:13.945" v="6356" actId="20577"/>
          <ac:spMkLst>
            <pc:docMk/>
            <pc:sldMk cId="1829050953" sldId="269"/>
            <ac:spMk id="6" creationId="{1B910787-D403-4D8F-880F-C1267C8DF510}"/>
          </ac:spMkLst>
        </pc:spChg>
        <pc:spChg chg="mod">
          <ac:chgData name="Daniel Esteban Ortiz Carvajal" userId="c61208ed-cfc9-41db-b98e-8ca1e81cbf8a" providerId="ADAL" clId="{460B01F5-D0D7-4F46-BDC5-EE5905768D06}" dt="2022-08-09T19:52:13.955" v="6358" actId="947"/>
          <ac:spMkLst>
            <pc:docMk/>
            <pc:sldMk cId="1829050953" sldId="269"/>
            <ac:spMk id="7" creationId="{094B8876-FF0D-40A9-A8FD-E577A8C65861}"/>
          </ac:spMkLst>
        </pc:spChg>
        <pc:graphicFrameChg chg="mod ord modVis replST">
          <ac:chgData name="Daniel Esteban Ortiz Carvajal" userId="c61208ed-cfc9-41db-b98e-8ca1e81cbf8a" providerId="ADAL" clId="{460B01F5-D0D7-4F46-BDC5-EE5905768D06}" dt="2022-08-09T19:52:20.149" v="8202" actId="1076"/>
          <ac:graphicFrameMkLst>
            <pc:docMk/>
            <pc:sldMk cId="1829050953" sldId="269"/>
            <ac:graphicFrameMk id="4" creationId="{A42AE647-5B77-41DB-A167-0AD7A42CFE67}"/>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467327238" sldId="275"/>
        </pc:sldMkLst>
        <pc:spChg chg="mod">
          <ac:chgData name="Daniel Esteban Ortiz Carvajal" userId="c61208ed-cfc9-41db-b98e-8ca1e81cbf8a" providerId="ADAL" clId="{460B01F5-D0D7-4F46-BDC5-EE5905768D06}" dt="2022-08-09T19:52:13.850" v="6312" actId="947"/>
          <ac:spMkLst>
            <pc:docMk/>
            <pc:sldMk cId="467327238" sldId="275"/>
            <ac:spMk id="2" creationId="{AD82C5F7-7BCA-4FBD-8EFC-68E4B68B1485}"/>
          </ac:spMkLst>
        </pc:spChg>
        <pc:spChg chg="mod">
          <ac:chgData name="Daniel Esteban Ortiz Carvajal" userId="c61208ed-cfc9-41db-b98e-8ca1e81cbf8a" providerId="ADAL" clId="{460B01F5-D0D7-4F46-BDC5-EE5905768D06}" dt="2022-08-09T19:52:13.855" v="6314" actId="947"/>
          <ac:spMkLst>
            <pc:docMk/>
            <pc:sldMk cId="467327238" sldId="275"/>
            <ac:spMk id="3" creationId="{38D85E3C-19C8-4B4A-A826-7EE328709D7A}"/>
          </ac:spMkLst>
        </pc:spChg>
        <pc:graphicFrameChg chg="mod ord modVis replST">
          <ac:chgData name="Daniel Esteban Ortiz Carvajal" userId="c61208ed-cfc9-41db-b98e-8ca1e81cbf8a" providerId="ADAL" clId="{460B01F5-D0D7-4F46-BDC5-EE5905768D06}" dt="2022-08-09T19:52:19.856" v="8146" actId="1076"/>
          <ac:graphicFrameMkLst>
            <pc:docMk/>
            <pc:sldMk cId="467327238" sldId="275"/>
            <ac:graphicFrameMk id="4" creationId="{5B903FF0-6161-4385-9C7E-4B20EDB2B9F7}"/>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965160305" sldId="276"/>
        </pc:sldMkLst>
        <pc:spChg chg="mod">
          <ac:chgData name="Daniel Esteban Ortiz Carvajal" userId="c61208ed-cfc9-41db-b98e-8ca1e81cbf8a" providerId="ADAL" clId="{460B01F5-D0D7-4F46-BDC5-EE5905768D06}" dt="2022-08-09T19:52:14.135" v="6432" actId="947"/>
          <ac:spMkLst>
            <pc:docMk/>
            <pc:sldMk cId="2965160305" sldId="276"/>
            <ac:spMk id="2" creationId="{AD82C5F7-7BCA-4FBD-8EFC-68E4B68B1485}"/>
          </ac:spMkLst>
        </pc:spChg>
        <pc:spChg chg="mod">
          <ac:chgData name="Daniel Esteban Ortiz Carvajal" userId="c61208ed-cfc9-41db-b98e-8ca1e81cbf8a" providerId="ADAL" clId="{460B01F5-D0D7-4F46-BDC5-EE5905768D06}" dt="2022-08-09T19:52:14.142" v="6434" actId="947"/>
          <ac:spMkLst>
            <pc:docMk/>
            <pc:sldMk cId="2965160305" sldId="276"/>
            <ac:spMk id="3" creationId="{927456F6-9001-45F8-8E88-4D7A570433F5}"/>
          </ac:spMkLst>
        </pc:spChg>
        <pc:graphicFrameChg chg="mod ord modVis replST">
          <ac:chgData name="Daniel Esteban Ortiz Carvajal" userId="c61208ed-cfc9-41db-b98e-8ca1e81cbf8a" providerId="ADAL" clId="{460B01F5-D0D7-4F46-BDC5-EE5905768D06}" dt="2022-08-09T19:52:20.478" v="8266" actId="1076"/>
          <ac:graphicFrameMkLst>
            <pc:docMk/>
            <pc:sldMk cId="2965160305" sldId="276"/>
            <ac:graphicFrameMk id="4" creationId="{B2463D30-F6F5-43F0-92A4-EC1DE8A75294}"/>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020687649" sldId="277"/>
        </pc:sldMkLst>
        <pc:spChg chg="mod">
          <ac:chgData name="Daniel Esteban Ortiz Carvajal" userId="c61208ed-cfc9-41db-b98e-8ca1e81cbf8a" providerId="ADAL" clId="{460B01F5-D0D7-4F46-BDC5-EE5905768D06}" dt="2022-08-09T19:52:14.145" v="6436" actId="947"/>
          <ac:spMkLst>
            <pc:docMk/>
            <pc:sldMk cId="3020687649" sldId="277"/>
            <ac:spMk id="2" creationId="{C274B575-B31C-415F-AF62-A305A7D4E415}"/>
          </ac:spMkLst>
        </pc:spChg>
        <pc:spChg chg="mod">
          <ac:chgData name="Daniel Esteban Ortiz Carvajal" userId="c61208ed-cfc9-41db-b98e-8ca1e81cbf8a" providerId="ADAL" clId="{460B01F5-D0D7-4F46-BDC5-EE5905768D06}" dt="2022-08-09T19:52:14.145" v="6438" actId="947"/>
          <ac:spMkLst>
            <pc:docMk/>
            <pc:sldMk cId="3020687649" sldId="277"/>
            <ac:spMk id="3" creationId="{9F907A29-1784-4E0C-A8FE-033C7E24E547}"/>
          </ac:spMkLst>
        </pc:spChg>
        <pc:spChg chg="mod">
          <ac:chgData name="Daniel Esteban Ortiz Carvajal" userId="c61208ed-cfc9-41db-b98e-8ca1e81cbf8a" providerId="ADAL" clId="{460B01F5-D0D7-4F46-BDC5-EE5905768D06}" dt="2022-08-09T19:52:14.156" v="6442" actId="20577"/>
          <ac:spMkLst>
            <pc:docMk/>
            <pc:sldMk cId="3020687649" sldId="277"/>
            <ac:spMk id="6" creationId="{1B910787-D403-4D8F-880F-C1267C8DF510}"/>
          </ac:spMkLst>
        </pc:spChg>
        <pc:spChg chg="mod">
          <ac:chgData name="Daniel Esteban Ortiz Carvajal" userId="c61208ed-cfc9-41db-b98e-8ca1e81cbf8a" providerId="ADAL" clId="{460B01F5-D0D7-4F46-BDC5-EE5905768D06}" dt="2022-08-09T19:52:14.175" v="6448" actId="947"/>
          <ac:spMkLst>
            <pc:docMk/>
            <pc:sldMk cId="3020687649" sldId="277"/>
            <ac:spMk id="7" creationId="{873D6342-932C-45B3-AF4C-EDE74EB83EED}"/>
          </ac:spMkLst>
        </pc:spChg>
        <pc:spChg chg="mod">
          <ac:chgData name="Daniel Esteban Ortiz Carvajal" userId="c61208ed-cfc9-41db-b98e-8ca1e81cbf8a" providerId="ADAL" clId="{460B01F5-D0D7-4F46-BDC5-EE5905768D06}" dt="2022-08-09T19:52:14.166" v="6446" actId="20577"/>
          <ac:spMkLst>
            <pc:docMk/>
            <pc:sldMk cId="3020687649" sldId="277"/>
            <ac:spMk id="9" creationId="{B75DBDDE-9615-4777-B224-B11AE13A50E9}"/>
          </ac:spMkLst>
        </pc:spChg>
        <pc:graphicFrameChg chg="mod ord modVis replST">
          <ac:chgData name="Daniel Esteban Ortiz Carvajal" userId="c61208ed-cfc9-41db-b98e-8ca1e81cbf8a" providerId="ADAL" clId="{460B01F5-D0D7-4F46-BDC5-EE5905768D06}" dt="2022-08-09T19:52:18.801" v="7936" actId="1076"/>
          <ac:graphicFrameMkLst>
            <pc:docMk/>
            <pc:sldMk cId="3020687649" sldId="277"/>
            <ac:graphicFrameMk id="4" creationId="{D4C4A727-529D-4281-8E11-F44F92D08FB5}"/>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581060740" sldId="286"/>
        </pc:sldMkLst>
        <pc:spChg chg="mod">
          <ac:chgData name="Daniel Esteban Ortiz Carvajal" userId="c61208ed-cfc9-41db-b98e-8ca1e81cbf8a" providerId="ADAL" clId="{460B01F5-D0D7-4F46-BDC5-EE5905768D06}" dt="2022-08-09T19:52:13.955" v="6360" actId="947"/>
          <ac:spMkLst>
            <pc:docMk/>
            <pc:sldMk cId="1581060740" sldId="286"/>
            <ac:spMk id="2" creationId="{C274B575-B31C-415F-AF62-A305A7D4E415}"/>
          </ac:spMkLst>
        </pc:spChg>
        <pc:spChg chg="mod">
          <ac:chgData name="Daniel Esteban Ortiz Carvajal" userId="c61208ed-cfc9-41db-b98e-8ca1e81cbf8a" providerId="ADAL" clId="{460B01F5-D0D7-4F46-BDC5-EE5905768D06}" dt="2022-08-09T19:52:13.966" v="6362" actId="947"/>
          <ac:spMkLst>
            <pc:docMk/>
            <pc:sldMk cId="1581060740" sldId="286"/>
            <ac:spMk id="3" creationId="{9F907A29-1784-4E0C-A8FE-033C7E24E547}"/>
          </ac:spMkLst>
        </pc:spChg>
        <pc:spChg chg="mod">
          <ac:chgData name="Daniel Esteban Ortiz Carvajal" userId="c61208ed-cfc9-41db-b98e-8ca1e81cbf8a" providerId="ADAL" clId="{460B01F5-D0D7-4F46-BDC5-EE5905768D06}" dt="2022-08-09T19:52:13.975" v="6366" actId="20577"/>
          <ac:spMkLst>
            <pc:docMk/>
            <pc:sldMk cId="1581060740" sldId="286"/>
            <ac:spMk id="6" creationId="{1B910787-D403-4D8F-880F-C1267C8DF510}"/>
          </ac:spMkLst>
        </pc:spChg>
        <pc:spChg chg="mod">
          <ac:chgData name="Daniel Esteban Ortiz Carvajal" userId="c61208ed-cfc9-41db-b98e-8ca1e81cbf8a" providerId="ADAL" clId="{460B01F5-D0D7-4F46-BDC5-EE5905768D06}" dt="2022-08-09T19:52:13.975" v="6368" actId="947"/>
          <ac:spMkLst>
            <pc:docMk/>
            <pc:sldMk cId="1581060740" sldId="286"/>
            <ac:spMk id="8" creationId="{07B9EFAF-CD89-4892-BA97-CF4978C3FF0A}"/>
          </ac:spMkLst>
        </pc:spChg>
        <pc:graphicFrameChg chg="mod ord modVis replST">
          <ac:chgData name="Daniel Esteban Ortiz Carvajal" userId="c61208ed-cfc9-41db-b98e-8ca1e81cbf8a" providerId="ADAL" clId="{460B01F5-D0D7-4F46-BDC5-EE5905768D06}" dt="2022-08-09T19:52:20.396" v="8250" actId="1076"/>
          <ac:graphicFrameMkLst>
            <pc:docMk/>
            <pc:sldMk cId="1581060740" sldId="286"/>
            <ac:graphicFrameMk id="4" creationId="{11E62C5A-B0FE-48A6-A88A-BCC1A2112320}"/>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684184113" sldId="287"/>
        </pc:sldMkLst>
        <pc:spChg chg="mod">
          <ac:chgData name="Daniel Esteban Ortiz Carvajal" userId="c61208ed-cfc9-41db-b98e-8ca1e81cbf8a" providerId="ADAL" clId="{460B01F5-D0D7-4F46-BDC5-EE5905768D06}" dt="2022-08-09T19:52:13.985" v="6370" actId="947"/>
          <ac:spMkLst>
            <pc:docMk/>
            <pc:sldMk cId="2684184113" sldId="287"/>
            <ac:spMk id="2" creationId="{C274B575-B31C-415F-AF62-A305A7D4E415}"/>
          </ac:spMkLst>
        </pc:spChg>
        <pc:spChg chg="mod">
          <ac:chgData name="Daniel Esteban Ortiz Carvajal" userId="c61208ed-cfc9-41db-b98e-8ca1e81cbf8a" providerId="ADAL" clId="{460B01F5-D0D7-4F46-BDC5-EE5905768D06}" dt="2022-08-09T19:52:13.995" v="6372" actId="947"/>
          <ac:spMkLst>
            <pc:docMk/>
            <pc:sldMk cId="2684184113" sldId="287"/>
            <ac:spMk id="3" creationId="{9F907A29-1784-4E0C-A8FE-033C7E24E547}"/>
          </ac:spMkLst>
        </pc:spChg>
        <pc:spChg chg="mod">
          <ac:chgData name="Daniel Esteban Ortiz Carvajal" userId="c61208ed-cfc9-41db-b98e-8ca1e81cbf8a" providerId="ADAL" clId="{460B01F5-D0D7-4F46-BDC5-EE5905768D06}" dt="2022-08-09T19:52:14.005" v="6376" actId="20577"/>
          <ac:spMkLst>
            <pc:docMk/>
            <pc:sldMk cId="2684184113" sldId="287"/>
            <ac:spMk id="6" creationId="{1B910787-D403-4D8F-880F-C1267C8DF510}"/>
          </ac:spMkLst>
        </pc:spChg>
        <pc:spChg chg="mod">
          <ac:chgData name="Daniel Esteban Ortiz Carvajal" userId="c61208ed-cfc9-41db-b98e-8ca1e81cbf8a" providerId="ADAL" clId="{460B01F5-D0D7-4F46-BDC5-EE5905768D06}" dt="2022-08-09T19:52:14.015" v="6378" actId="947"/>
          <ac:spMkLst>
            <pc:docMk/>
            <pc:sldMk cId="2684184113" sldId="287"/>
            <ac:spMk id="8" creationId="{39993696-ABEF-495F-A3A4-4B20B5E0DE46}"/>
          </ac:spMkLst>
        </pc:spChg>
        <pc:graphicFrameChg chg="mod ord modVis replST">
          <ac:chgData name="Daniel Esteban Ortiz Carvajal" userId="c61208ed-cfc9-41db-b98e-8ca1e81cbf8a" providerId="ADAL" clId="{460B01F5-D0D7-4F46-BDC5-EE5905768D06}" dt="2022-08-09T19:52:20.276" v="8226" actId="1076"/>
          <ac:graphicFrameMkLst>
            <pc:docMk/>
            <pc:sldMk cId="2684184113" sldId="287"/>
            <ac:graphicFrameMk id="4" creationId="{29AE12A6-C6E6-49AD-9A92-88FA6BB5282B}"/>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329366801" sldId="288"/>
        </pc:sldMkLst>
        <pc:spChg chg="mod">
          <ac:chgData name="Daniel Esteban Ortiz Carvajal" userId="c61208ed-cfc9-41db-b98e-8ca1e81cbf8a" providerId="ADAL" clId="{460B01F5-D0D7-4F46-BDC5-EE5905768D06}" dt="2022-08-09T19:52:14.015" v="6380" actId="947"/>
          <ac:spMkLst>
            <pc:docMk/>
            <pc:sldMk cId="2329366801" sldId="288"/>
            <ac:spMk id="2" creationId="{C274B575-B31C-415F-AF62-A305A7D4E415}"/>
          </ac:spMkLst>
        </pc:spChg>
        <pc:spChg chg="mod">
          <ac:chgData name="Daniel Esteban Ortiz Carvajal" userId="c61208ed-cfc9-41db-b98e-8ca1e81cbf8a" providerId="ADAL" clId="{460B01F5-D0D7-4F46-BDC5-EE5905768D06}" dt="2022-08-09T19:52:14.025" v="6382" actId="947"/>
          <ac:spMkLst>
            <pc:docMk/>
            <pc:sldMk cId="2329366801" sldId="288"/>
            <ac:spMk id="3" creationId="{9F907A29-1784-4E0C-A8FE-033C7E24E547}"/>
          </ac:spMkLst>
        </pc:spChg>
        <pc:spChg chg="mod">
          <ac:chgData name="Daniel Esteban Ortiz Carvajal" userId="c61208ed-cfc9-41db-b98e-8ca1e81cbf8a" providerId="ADAL" clId="{460B01F5-D0D7-4F46-BDC5-EE5905768D06}" dt="2022-08-09T19:52:14.025" v="6386" actId="20577"/>
          <ac:spMkLst>
            <pc:docMk/>
            <pc:sldMk cId="2329366801" sldId="288"/>
            <ac:spMk id="6" creationId="{1B910787-D403-4D8F-880F-C1267C8DF510}"/>
          </ac:spMkLst>
        </pc:spChg>
        <pc:spChg chg="mod">
          <ac:chgData name="Daniel Esteban Ortiz Carvajal" userId="c61208ed-cfc9-41db-b98e-8ca1e81cbf8a" providerId="ADAL" clId="{460B01F5-D0D7-4F46-BDC5-EE5905768D06}" dt="2022-08-09T19:52:14.036" v="6388" actId="947"/>
          <ac:spMkLst>
            <pc:docMk/>
            <pc:sldMk cId="2329366801" sldId="288"/>
            <ac:spMk id="8" creationId="{07804250-1AA3-4E79-9F49-C93E0293F968}"/>
          </ac:spMkLst>
        </pc:spChg>
        <pc:spChg chg="mod">
          <ac:chgData name="Daniel Esteban Ortiz Carvajal" userId="c61208ed-cfc9-41db-b98e-8ca1e81cbf8a" providerId="ADAL" clId="{460B01F5-D0D7-4F46-BDC5-EE5905768D06}" dt="2022-08-09T19:52:14.046" v="6392" actId="20577"/>
          <ac:spMkLst>
            <pc:docMk/>
            <pc:sldMk cId="2329366801" sldId="288"/>
            <ac:spMk id="10" creationId="{95A8A92B-D1CA-43E8-BC6E-CBF25EB06C6E}"/>
          </ac:spMkLst>
        </pc:spChg>
        <pc:graphicFrameChg chg="mod ord modVis replST">
          <ac:chgData name="Daniel Esteban Ortiz Carvajal" userId="c61208ed-cfc9-41db-b98e-8ca1e81cbf8a" providerId="ADAL" clId="{460B01F5-D0D7-4F46-BDC5-EE5905768D06}" dt="2022-08-09T19:52:20.434" v="8258" actId="1076"/>
          <ac:graphicFrameMkLst>
            <pc:docMk/>
            <pc:sldMk cId="2329366801" sldId="288"/>
            <ac:graphicFrameMk id="4" creationId="{16EC4845-7E2D-4003-8AEF-9E403B7F4FDD}"/>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434160797" sldId="289"/>
        </pc:sldMkLst>
        <pc:spChg chg="mod">
          <ac:chgData name="Daniel Esteban Ortiz Carvajal" userId="c61208ed-cfc9-41db-b98e-8ca1e81cbf8a" providerId="ADAL" clId="{460B01F5-D0D7-4F46-BDC5-EE5905768D06}" dt="2022-08-09T19:52:14.046" v="6394" actId="947"/>
          <ac:spMkLst>
            <pc:docMk/>
            <pc:sldMk cId="3434160797" sldId="289"/>
            <ac:spMk id="2" creationId="{C274B575-B31C-415F-AF62-A305A7D4E415}"/>
          </ac:spMkLst>
        </pc:spChg>
        <pc:spChg chg="mod">
          <ac:chgData name="Daniel Esteban Ortiz Carvajal" userId="c61208ed-cfc9-41db-b98e-8ca1e81cbf8a" providerId="ADAL" clId="{460B01F5-D0D7-4F46-BDC5-EE5905768D06}" dt="2022-08-09T19:52:14.055" v="6396" actId="947"/>
          <ac:spMkLst>
            <pc:docMk/>
            <pc:sldMk cId="3434160797" sldId="289"/>
            <ac:spMk id="3" creationId="{9F907A29-1784-4E0C-A8FE-033C7E24E547}"/>
          </ac:spMkLst>
        </pc:spChg>
        <pc:spChg chg="mod">
          <ac:chgData name="Daniel Esteban Ortiz Carvajal" userId="c61208ed-cfc9-41db-b98e-8ca1e81cbf8a" providerId="ADAL" clId="{460B01F5-D0D7-4F46-BDC5-EE5905768D06}" dt="2022-08-09T19:52:14.065" v="6404" actId="20577"/>
          <ac:spMkLst>
            <pc:docMk/>
            <pc:sldMk cId="3434160797" sldId="289"/>
            <ac:spMk id="6" creationId="{1B910787-D403-4D8F-880F-C1267C8DF510}"/>
          </ac:spMkLst>
        </pc:spChg>
        <pc:spChg chg="mod">
          <ac:chgData name="Daniel Esteban Ortiz Carvajal" userId="c61208ed-cfc9-41db-b98e-8ca1e81cbf8a" providerId="ADAL" clId="{460B01F5-D0D7-4F46-BDC5-EE5905768D06}" dt="2022-08-09T19:52:14.076" v="6406" actId="947"/>
          <ac:spMkLst>
            <pc:docMk/>
            <pc:sldMk cId="3434160797" sldId="289"/>
            <ac:spMk id="7" creationId="{DA7707A2-4B5A-4319-B281-596D30D826D1}"/>
          </ac:spMkLst>
        </pc:spChg>
        <pc:spChg chg="mod">
          <ac:chgData name="Daniel Esteban Ortiz Carvajal" userId="c61208ed-cfc9-41db-b98e-8ca1e81cbf8a" providerId="ADAL" clId="{460B01F5-D0D7-4F46-BDC5-EE5905768D06}" dt="2022-08-09T19:52:14.065" v="6400" actId="20577"/>
          <ac:spMkLst>
            <pc:docMk/>
            <pc:sldMk cId="3434160797" sldId="289"/>
            <ac:spMk id="9" creationId="{F1D5762E-8B49-4AFC-8F7E-279CEE2ABAC8}"/>
          </ac:spMkLst>
        </pc:spChg>
        <pc:graphicFrameChg chg="mod ord modVis replST">
          <ac:chgData name="Daniel Esteban Ortiz Carvajal" userId="c61208ed-cfc9-41db-b98e-8ca1e81cbf8a" providerId="ADAL" clId="{460B01F5-D0D7-4F46-BDC5-EE5905768D06}" dt="2022-08-09T19:52:20.191" v="8210" actId="1076"/>
          <ac:graphicFrameMkLst>
            <pc:docMk/>
            <pc:sldMk cId="3434160797" sldId="289"/>
            <ac:graphicFrameMk id="4" creationId="{8DA22BE8-577B-4D1B-A649-872BCAFA3C14}"/>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083835518" sldId="290"/>
        </pc:sldMkLst>
        <pc:spChg chg="mod">
          <ac:chgData name="Daniel Esteban Ortiz Carvajal" userId="c61208ed-cfc9-41db-b98e-8ca1e81cbf8a" providerId="ADAL" clId="{460B01F5-D0D7-4F46-BDC5-EE5905768D06}" dt="2022-08-09T19:52:14.076" v="6408" actId="947"/>
          <ac:spMkLst>
            <pc:docMk/>
            <pc:sldMk cId="3083835518" sldId="290"/>
            <ac:spMk id="2" creationId="{C274B575-B31C-415F-AF62-A305A7D4E415}"/>
          </ac:spMkLst>
        </pc:spChg>
        <pc:spChg chg="mod">
          <ac:chgData name="Daniel Esteban Ortiz Carvajal" userId="c61208ed-cfc9-41db-b98e-8ca1e81cbf8a" providerId="ADAL" clId="{460B01F5-D0D7-4F46-BDC5-EE5905768D06}" dt="2022-08-09T19:52:14.086" v="6410" actId="947"/>
          <ac:spMkLst>
            <pc:docMk/>
            <pc:sldMk cId="3083835518" sldId="290"/>
            <ac:spMk id="3" creationId="{9F907A29-1784-4E0C-A8FE-033C7E24E547}"/>
          </ac:spMkLst>
        </pc:spChg>
        <pc:spChg chg="mod">
          <ac:chgData name="Daniel Esteban Ortiz Carvajal" userId="c61208ed-cfc9-41db-b98e-8ca1e81cbf8a" providerId="ADAL" clId="{460B01F5-D0D7-4F46-BDC5-EE5905768D06}" dt="2022-08-09T19:52:14.096" v="6414" actId="20577"/>
          <ac:spMkLst>
            <pc:docMk/>
            <pc:sldMk cId="3083835518" sldId="290"/>
            <ac:spMk id="6" creationId="{1B910787-D403-4D8F-880F-C1267C8DF510}"/>
          </ac:spMkLst>
        </pc:spChg>
        <pc:spChg chg="mod">
          <ac:chgData name="Daniel Esteban Ortiz Carvajal" userId="c61208ed-cfc9-41db-b98e-8ca1e81cbf8a" providerId="ADAL" clId="{460B01F5-D0D7-4F46-BDC5-EE5905768D06}" dt="2022-08-09T19:52:14.106" v="6420" actId="947"/>
          <ac:spMkLst>
            <pc:docMk/>
            <pc:sldMk cId="3083835518" sldId="290"/>
            <ac:spMk id="7" creationId="{4491181B-B55C-4038-8761-2A21913CF802}"/>
          </ac:spMkLst>
        </pc:spChg>
        <pc:spChg chg="mod">
          <ac:chgData name="Daniel Esteban Ortiz Carvajal" userId="c61208ed-cfc9-41db-b98e-8ca1e81cbf8a" providerId="ADAL" clId="{460B01F5-D0D7-4F46-BDC5-EE5905768D06}" dt="2022-08-09T19:52:14.106" v="6418" actId="20577"/>
          <ac:spMkLst>
            <pc:docMk/>
            <pc:sldMk cId="3083835518" sldId="290"/>
            <ac:spMk id="9" creationId="{36C605EF-DA30-405A-B234-34350F8CD824}"/>
          </ac:spMkLst>
        </pc:spChg>
        <pc:graphicFrameChg chg="mod ord modVis replST">
          <ac:chgData name="Daniel Esteban Ortiz Carvajal" userId="c61208ed-cfc9-41db-b98e-8ca1e81cbf8a" providerId="ADAL" clId="{460B01F5-D0D7-4F46-BDC5-EE5905768D06}" dt="2022-08-09T19:52:20.226" v="8218" actId="1076"/>
          <ac:graphicFrameMkLst>
            <pc:docMk/>
            <pc:sldMk cId="3083835518" sldId="290"/>
            <ac:graphicFrameMk id="4" creationId="{923069A4-5789-4DBE-AE02-E11643AC4C91}"/>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453081205" sldId="291"/>
        </pc:sldMkLst>
        <pc:spChg chg="mod">
          <ac:chgData name="Daniel Esteban Ortiz Carvajal" userId="c61208ed-cfc9-41db-b98e-8ca1e81cbf8a" providerId="ADAL" clId="{460B01F5-D0D7-4F46-BDC5-EE5905768D06}" dt="2022-08-09T19:52:14.175" v="6450" actId="947"/>
          <ac:spMkLst>
            <pc:docMk/>
            <pc:sldMk cId="1453081205" sldId="291"/>
            <ac:spMk id="2" creationId="{C274B575-B31C-415F-AF62-A305A7D4E415}"/>
          </ac:spMkLst>
        </pc:spChg>
        <pc:spChg chg="mod">
          <ac:chgData name="Daniel Esteban Ortiz Carvajal" userId="c61208ed-cfc9-41db-b98e-8ca1e81cbf8a" providerId="ADAL" clId="{460B01F5-D0D7-4F46-BDC5-EE5905768D06}" dt="2022-08-09T19:52:14.186" v="6452" actId="947"/>
          <ac:spMkLst>
            <pc:docMk/>
            <pc:sldMk cId="1453081205" sldId="291"/>
            <ac:spMk id="3" creationId="{9F907A29-1784-4E0C-A8FE-033C7E24E547}"/>
          </ac:spMkLst>
        </pc:spChg>
        <pc:spChg chg="mod">
          <ac:chgData name="Daniel Esteban Ortiz Carvajal" userId="c61208ed-cfc9-41db-b98e-8ca1e81cbf8a" providerId="ADAL" clId="{460B01F5-D0D7-4F46-BDC5-EE5905768D06}" dt="2022-08-09T19:52:14.202" v="6456" actId="20577"/>
          <ac:spMkLst>
            <pc:docMk/>
            <pc:sldMk cId="1453081205" sldId="291"/>
            <ac:spMk id="6" creationId="{1B910787-D403-4D8F-880F-C1267C8DF510}"/>
          </ac:spMkLst>
        </pc:spChg>
        <pc:spChg chg="mod">
          <ac:chgData name="Daniel Esteban Ortiz Carvajal" userId="c61208ed-cfc9-41db-b98e-8ca1e81cbf8a" providerId="ADAL" clId="{460B01F5-D0D7-4F46-BDC5-EE5905768D06}" dt="2022-08-09T19:52:14.211" v="6460" actId="20577"/>
          <ac:spMkLst>
            <pc:docMk/>
            <pc:sldMk cId="1453081205" sldId="291"/>
            <ac:spMk id="7" creationId="{F9BF1D72-D461-4F33-B33A-B9E7CFA80082}"/>
          </ac:spMkLst>
        </pc:spChg>
        <pc:spChg chg="mod">
          <ac:chgData name="Daniel Esteban Ortiz Carvajal" userId="c61208ed-cfc9-41db-b98e-8ca1e81cbf8a" providerId="ADAL" clId="{460B01F5-D0D7-4F46-BDC5-EE5905768D06}" dt="2022-08-09T19:52:14.215" v="6462" actId="947"/>
          <ac:spMkLst>
            <pc:docMk/>
            <pc:sldMk cId="1453081205" sldId="291"/>
            <ac:spMk id="8" creationId="{EA43312A-5A60-4571-92F3-72663C0D5B5F}"/>
          </ac:spMkLst>
        </pc:spChg>
        <pc:graphicFrameChg chg="mod ord modVis replST">
          <ac:chgData name="Daniel Esteban Ortiz Carvajal" userId="c61208ed-cfc9-41db-b98e-8ca1e81cbf8a" providerId="ADAL" clId="{460B01F5-D0D7-4F46-BDC5-EE5905768D06}" dt="2022-08-09T19:52:19.015" v="7976" actId="1076"/>
          <ac:graphicFrameMkLst>
            <pc:docMk/>
            <pc:sldMk cId="1453081205" sldId="291"/>
            <ac:graphicFrameMk id="4" creationId="{3DCE3963-E8CA-4B76-99D0-6E352229EE94}"/>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805855905" sldId="292"/>
        </pc:sldMkLst>
        <pc:spChg chg="mod">
          <ac:chgData name="Daniel Esteban Ortiz Carvajal" userId="c61208ed-cfc9-41db-b98e-8ca1e81cbf8a" providerId="ADAL" clId="{460B01F5-D0D7-4F46-BDC5-EE5905768D06}" dt="2022-08-09T19:52:14.220" v="6464" actId="947"/>
          <ac:spMkLst>
            <pc:docMk/>
            <pc:sldMk cId="3805855905" sldId="292"/>
            <ac:spMk id="2" creationId="{C274B575-B31C-415F-AF62-A305A7D4E415}"/>
          </ac:spMkLst>
        </pc:spChg>
        <pc:spChg chg="mod">
          <ac:chgData name="Daniel Esteban Ortiz Carvajal" userId="c61208ed-cfc9-41db-b98e-8ca1e81cbf8a" providerId="ADAL" clId="{460B01F5-D0D7-4F46-BDC5-EE5905768D06}" dt="2022-08-09T19:52:14.225" v="6466" actId="947"/>
          <ac:spMkLst>
            <pc:docMk/>
            <pc:sldMk cId="3805855905" sldId="292"/>
            <ac:spMk id="3" creationId="{9F907A29-1784-4E0C-A8FE-033C7E24E547}"/>
          </ac:spMkLst>
        </pc:spChg>
        <pc:spChg chg="mod">
          <ac:chgData name="Daniel Esteban Ortiz Carvajal" userId="c61208ed-cfc9-41db-b98e-8ca1e81cbf8a" providerId="ADAL" clId="{460B01F5-D0D7-4F46-BDC5-EE5905768D06}" dt="2022-08-09T19:52:14.236" v="6470" actId="20577"/>
          <ac:spMkLst>
            <pc:docMk/>
            <pc:sldMk cId="3805855905" sldId="292"/>
            <ac:spMk id="6" creationId="{1B910787-D403-4D8F-880F-C1267C8DF510}"/>
          </ac:spMkLst>
        </pc:spChg>
        <pc:spChg chg="mod">
          <ac:chgData name="Daniel Esteban Ortiz Carvajal" userId="c61208ed-cfc9-41db-b98e-8ca1e81cbf8a" providerId="ADAL" clId="{460B01F5-D0D7-4F46-BDC5-EE5905768D06}" dt="2022-08-09T19:52:14.245" v="6474" actId="20577"/>
          <ac:spMkLst>
            <pc:docMk/>
            <pc:sldMk cId="3805855905" sldId="292"/>
            <ac:spMk id="7" creationId="{5B5ECA68-73E3-409D-8B63-02FA26A32675}"/>
          </ac:spMkLst>
        </pc:spChg>
        <pc:spChg chg="mod">
          <ac:chgData name="Daniel Esteban Ortiz Carvajal" userId="c61208ed-cfc9-41db-b98e-8ca1e81cbf8a" providerId="ADAL" clId="{460B01F5-D0D7-4F46-BDC5-EE5905768D06}" dt="2022-08-09T19:52:14.245" v="6476" actId="947"/>
          <ac:spMkLst>
            <pc:docMk/>
            <pc:sldMk cId="3805855905" sldId="292"/>
            <ac:spMk id="8" creationId="{64F87121-D7A9-496E-A0E0-3AD8AB97E198}"/>
          </ac:spMkLst>
        </pc:spChg>
        <pc:graphicFrameChg chg="mod ord modVis replST">
          <ac:chgData name="Daniel Esteban Ortiz Carvajal" userId="c61208ed-cfc9-41db-b98e-8ca1e81cbf8a" providerId="ADAL" clId="{460B01F5-D0D7-4F46-BDC5-EE5905768D06}" dt="2022-08-09T19:52:18.850" v="7944" actId="1076"/>
          <ac:graphicFrameMkLst>
            <pc:docMk/>
            <pc:sldMk cId="3805855905" sldId="292"/>
            <ac:graphicFrameMk id="4" creationId="{0F1D6EF4-909E-45C1-93CC-278D1BC71A9D}"/>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500557283" sldId="293"/>
        </pc:sldMkLst>
        <pc:spChg chg="mod">
          <ac:chgData name="Daniel Esteban Ortiz Carvajal" userId="c61208ed-cfc9-41db-b98e-8ca1e81cbf8a" providerId="ADAL" clId="{460B01F5-D0D7-4F46-BDC5-EE5905768D06}" dt="2022-08-09T19:52:14.255" v="6478" actId="947"/>
          <ac:spMkLst>
            <pc:docMk/>
            <pc:sldMk cId="1500557283" sldId="293"/>
            <ac:spMk id="2" creationId="{C274B575-B31C-415F-AF62-A305A7D4E415}"/>
          </ac:spMkLst>
        </pc:spChg>
        <pc:spChg chg="mod">
          <ac:chgData name="Daniel Esteban Ortiz Carvajal" userId="c61208ed-cfc9-41db-b98e-8ca1e81cbf8a" providerId="ADAL" clId="{460B01F5-D0D7-4F46-BDC5-EE5905768D06}" dt="2022-08-09T19:52:14.266" v="6480" actId="947"/>
          <ac:spMkLst>
            <pc:docMk/>
            <pc:sldMk cId="1500557283" sldId="293"/>
            <ac:spMk id="3" creationId="{9F907A29-1784-4E0C-A8FE-033C7E24E547}"/>
          </ac:spMkLst>
        </pc:spChg>
        <pc:spChg chg="mod">
          <ac:chgData name="Daniel Esteban Ortiz Carvajal" userId="c61208ed-cfc9-41db-b98e-8ca1e81cbf8a" providerId="ADAL" clId="{460B01F5-D0D7-4F46-BDC5-EE5905768D06}" dt="2022-08-09T19:52:14.286" v="6490" actId="20577"/>
          <ac:spMkLst>
            <pc:docMk/>
            <pc:sldMk cId="1500557283" sldId="293"/>
            <ac:spMk id="6" creationId="{1B910787-D403-4D8F-880F-C1267C8DF510}"/>
          </ac:spMkLst>
        </pc:spChg>
        <pc:spChg chg="mod">
          <ac:chgData name="Daniel Esteban Ortiz Carvajal" userId="c61208ed-cfc9-41db-b98e-8ca1e81cbf8a" providerId="ADAL" clId="{460B01F5-D0D7-4F46-BDC5-EE5905768D06}" dt="2022-08-09T19:52:14.266" v="6484" actId="20577"/>
          <ac:spMkLst>
            <pc:docMk/>
            <pc:sldMk cId="1500557283" sldId="293"/>
            <ac:spMk id="7" creationId="{8C46F9C3-4BAC-4302-83D4-0C6466F7775A}"/>
          </ac:spMkLst>
        </pc:spChg>
        <pc:spChg chg="mod">
          <ac:chgData name="Daniel Esteban Ortiz Carvajal" userId="c61208ed-cfc9-41db-b98e-8ca1e81cbf8a" providerId="ADAL" clId="{460B01F5-D0D7-4F46-BDC5-EE5905768D06}" dt="2022-08-09T19:52:14.276" v="6486" actId="947"/>
          <ac:spMkLst>
            <pc:docMk/>
            <pc:sldMk cId="1500557283" sldId="293"/>
            <ac:spMk id="8" creationId="{600001F2-E161-4950-B9F9-BD6548EF44E3}"/>
          </ac:spMkLst>
        </pc:spChg>
        <pc:graphicFrameChg chg="mod ord modVis replST">
          <ac:chgData name="Daniel Esteban Ortiz Carvajal" userId="c61208ed-cfc9-41db-b98e-8ca1e81cbf8a" providerId="ADAL" clId="{460B01F5-D0D7-4F46-BDC5-EE5905768D06}" dt="2022-08-09T19:52:18.971" v="7968" actId="1076"/>
          <ac:graphicFrameMkLst>
            <pc:docMk/>
            <pc:sldMk cId="1500557283" sldId="293"/>
            <ac:graphicFrameMk id="4" creationId="{5E40B8AB-41C2-41D3-87D7-E319CE7208AD}"/>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928840850" sldId="294"/>
        </pc:sldMkLst>
        <pc:spChg chg="mod">
          <ac:chgData name="Daniel Esteban Ortiz Carvajal" userId="c61208ed-cfc9-41db-b98e-8ca1e81cbf8a" providerId="ADAL" clId="{460B01F5-D0D7-4F46-BDC5-EE5905768D06}" dt="2022-08-09T19:52:14.286" v="6492" actId="947"/>
          <ac:spMkLst>
            <pc:docMk/>
            <pc:sldMk cId="928840850" sldId="294"/>
            <ac:spMk id="2" creationId="{C274B575-B31C-415F-AF62-A305A7D4E415}"/>
          </ac:spMkLst>
        </pc:spChg>
        <pc:spChg chg="mod">
          <ac:chgData name="Daniel Esteban Ortiz Carvajal" userId="c61208ed-cfc9-41db-b98e-8ca1e81cbf8a" providerId="ADAL" clId="{460B01F5-D0D7-4F46-BDC5-EE5905768D06}" dt="2022-08-09T19:52:14.296" v="6494" actId="947"/>
          <ac:spMkLst>
            <pc:docMk/>
            <pc:sldMk cId="928840850" sldId="294"/>
            <ac:spMk id="3" creationId="{9F907A29-1784-4E0C-A8FE-033C7E24E547}"/>
          </ac:spMkLst>
        </pc:spChg>
        <pc:spChg chg="mod">
          <ac:chgData name="Daniel Esteban Ortiz Carvajal" userId="c61208ed-cfc9-41db-b98e-8ca1e81cbf8a" providerId="ADAL" clId="{460B01F5-D0D7-4F46-BDC5-EE5905768D06}" dt="2022-08-09T19:52:14.306" v="6498" actId="20577"/>
          <ac:spMkLst>
            <pc:docMk/>
            <pc:sldMk cId="928840850" sldId="294"/>
            <ac:spMk id="6" creationId="{1B910787-D403-4D8F-880F-C1267C8DF510}"/>
          </ac:spMkLst>
        </pc:spChg>
        <pc:spChg chg="mod">
          <ac:chgData name="Daniel Esteban Ortiz Carvajal" userId="c61208ed-cfc9-41db-b98e-8ca1e81cbf8a" providerId="ADAL" clId="{460B01F5-D0D7-4F46-BDC5-EE5905768D06}" dt="2022-08-09T19:52:14.316" v="6502" actId="20577"/>
          <ac:spMkLst>
            <pc:docMk/>
            <pc:sldMk cId="928840850" sldId="294"/>
            <ac:spMk id="7" creationId="{8BDCBE3B-8494-4E4E-86AD-DBD67B82C5DD}"/>
          </ac:spMkLst>
        </pc:spChg>
        <pc:spChg chg="mod">
          <ac:chgData name="Daniel Esteban Ortiz Carvajal" userId="c61208ed-cfc9-41db-b98e-8ca1e81cbf8a" providerId="ADAL" clId="{460B01F5-D0D7-4F46-BDC5-EE5905768D06}" dt="2022-08-09T19:52:14.321" v="6504" actId="947"/>
          <ac:spMkLst>
            <pc:docMk/>
            <pc:sldMk cId="928840850" sldId="294"/>
            <ac:spMk id="8" creationId="{F8839CB0-B0F8-4F54-9A98-0BFA105BE1E5}"/>
          </ac:spMkLst>
        </pc:spChg>
        <pc:graphicFrameChg chg="mod ord modVis replST">
          <ac:chgData name="Daniel Esteban Ortiz Carvajal" userId="c61208ed-cfc9-41db-b98e-8ca1e81cbf8a" providerId="ADAL" clId="{460B01F5-D0D7-4F46-BDC5-EE5905768D06}" dt="2022-08-09T19:52:18.760" v="7928" actId="1076"/>
          <ac:graphicFrameMkLst>
            <pc:docMk/>
            <pc:sldMk cId="928840850" sldId="294"/>
            <ac:graphicFrameMk id="4" creationId="{96F0D1BC-9A20-41B5-98BA-630F2B5AF5BE}"/>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028769032" sldId="295"/>
        </pc:sldMkLst>
        <pc:spChg chg="mod">
          <ac:chgData name="Daniel Esteban Ortiz Carvajal" userId="c61208ed-cfc9-41db-b98e-8ca1e81cbf8a" providerId="ADAL" clId="{460B01F5-D0D7-4F46-BDC5-EE5905768D06}" dt="2022-08-09T19:52:14.326" v="6506" actId="947"/>
          <ac:spMkLst>
            <pc:docMk/>
            <pc:sldMk cId="3028769032" sldId="295"/>
            <ac:spMk id="2" creationId="{C274B575-B31C-415F-AF62-A305A7D4E415}"/>
          </ac:spMkLst>
        </pc:spChg>
        <pc:spChg chg="mod">
          <ac:chgData name="Daniel Esteban Ortiz Carvajal" userId="c61208ed-cfc9-41db-b98e-8ca1e81cbf8a" providerId="ADAL" clId="{460B01F5-D0D7-4F46-BDC5-EE5905768D06}" dt="2022-08-09T19:52:14.326" v="6508" actId="947"/>
          <ac:spMkLst>
            <pc:docMk/>
            <pc:sldMk cId="3028769032" sldId="295"/>
            <ac:spMk id="3" creationId="{9F907A29-1784-4E0C-A8FE-033C7E24E547}"/>
          </ac:spMkLst>
        </pc:spChg>
        <pc:spChg chg="mod">
          <ac:chgData name="Daniel Esteban Ortiz Carvajal" userId="c61208ed-cfc9-41db-b98e-8ca1e81cbf8a" providerId="ADAL" clId="{460B01F5-D0D7-4F46-BDC5-EE5905768D06}" dt="2022-08-09T19:52:14.346" v="6516" actId="20577"/>
          <ac:spMkLst>
            <pc:docMk/>
            <pc:sldMk cId="3028769032" sldId="295"/>
            <ac:spMk id="6" creationId="{1B910787-D403-4D8F-880F-C1267C8DF510}"/>
          </ac:spMkLst>
        </pc:spChg>
        <pc:spChg chg="mod">
          <ac:chgData name="Daniel Esteban Ortiz Carvajal" userId="c61208ed-cfc9-41db-b98e-8ca1e81cbf8a" providerId="ADAL" clId="{460B01F5-D0D7-4F46-BDC5-EE5905768D06}" dt="2022-08-09T19:52:14.342" v="6512" actId="20577"/>
          <ac:spMkLst>
            <pc:docMk/>
            <pc:sldMk cId="3028769032" sldId="295"/>
            <ac:spMk id="7" creationId="{4B8B8DE7-F2CC-49EB-8A2C-6AA7B5512479}"/>
          </ac:spMkLst>
        </pc:spChg>
        <pc:spChg chg="mod">
          <ac:chgData name="Daniel Esteban Ortiz Carvajal" userId="c61208ed-cfc9-41db-b98e-8ca1e81cbf8a" providerId="ADAL" clId="{460B01F5-D0D7-4F46-BDC5-EE5905768D06}" dt="2022-08-09T19:52:14.356" v="6518" actId="947"/>
          <ac:spMkLst>
            <pc:docMk/>
            <pc:sldMk cId="3028769032" sldId="295"/>
            <ac:spMk id="8" creationId="{27DA070B-C70F-448F-A72B-6973A6FFD50C}"/>
          </ac:spMkLst>
        </pc:spChg>
        <pc:spChg chg="mod">
          <ac:chgData name="Daniel Esteban Ortiz Carvajal" userId="c61208ed-cfc9-41db-b98e-8ca1e81cbf8a" providerId="ADAL" clId="{460B01F5-D0D7-4F46-BDC5-EE5905768D06}" dt="2022-08-09T19:52:14.365" v="6522" actId="20577"/>
          <ac:spMkLst>
            <pc:docMk/>
            <pc:sldMk cId="3028769032" sldId="295"/>
            <ac:spMk id="10" creationId="{EFAC2397-FF47-4245-9DBC-D5F5676DCFA4}"/>
          </ac:spMkLst>
        </pc:spChg>
        <pc:graphicFrameChg chg="mod ord modVis replST">
          <ac:chgData name="Daniel Esteban Ortiz Carvajal" userId="c61208ed-cfc9-41db-b98e-8ca1e81cbf8a" providerId="ADAL" clId="{460B01F5-D0D7-4F46-BDC5-EE5905768D06}" dt="2022-08-09T19:52:18.889" v="7952" actId="1076"/>
          <ac:graphicFrameMkLst>
            <pc:docMk/>
            <pc:sldMk cId="3028769032" sldId="295"/>
            <ac:graphicFrameMk id="4" creationId="{E5675AFC-EE96-4657-A964-3D3A9A4ADB98}"/>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232296881" sldId="296"/>
        </pc:sldMkLst>
        <pc:spChg chg="mod">
          <ac:chgData name="Daniel Esteban Ortiz Carvajal" userId="c61208ed-cfc9-41db-b98e-8ca1e81cbf8a" providerId="ADAL" clId="{460B01F5-D0D7-4F46-BDC5-EE5905768D06}" dt="2022-08-09T19:52:14.405" v="6538" actId="947"/>
          <ac:spMkLst>
            <pc:docMk/>
            <pc:sldMk cId="1232296881" sldId="296"/>
            <ac:spMk id="2" creationId="{AD82C5F7-7BCA-4FBD-8EFC-68E4B68B1485}"/>
          </ac:spMkLst>
        </pc:spChg>
        <pc:spChg chg="mod">
          <ac:chgData name="Daniel Esteban Ortiz Carvajal" userId="c61208ed-cfc9-41db-b98e-8ca1e81cbf8a" providerId="ADAL" clId="{460B01F5-D0D7-4F46-BDC5-EE5905768D06}" dt="2022-08-09T19:52:14.405" v="6540" actId="947"/>
          <ac:spMkLst>
            <pc:docMk/>
            <pc:sldMk cId="1232296881" sldId="296"/>
            <ac:spMk id="3" creationId="{7D8FFF46-F0B6-40B3-BB83-1C6AD50A6F26}"/>
          </ac:spMkLst>
        </pc:spChg>
        <pc:graphicFrameChg chg="mod ord modVis replST">
          <ac:chgData name="Daniel Esteban Ortiz Carvajal" userId="c61208ed-cfc9-41db-b98e-8ca1e81cbf8a" providerId="ADAL" clId="{460B01F5-D0D7-4F46-BDC5-EE5905768D06}" dt="2022-08-09T19:52:19.059" v="7984" actId="1076"/>
          <ac:graphicFrameMkLst>
            <pc:docMk/>
            <pc:sldMk cId="1232296881" sldId="296"/>
            <ac:graphicFrameMk id="4" creationId="{CADA9A40-75B5-46A8-99E2-D920A5386D7A}"/>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444184502" sldId="297"/>
        </pc:sldMkLst>
        <pc:spChg chg="mod">
          <ac:chgData name="Daniel Esteban Ortiz Carvajal" userId="c61208ed-cfc9-41db-b98e-8ca1e81cbf8a" providerId="ADAL" clId="{460B01F5-D0D7-4F46-BDC5-EE5905768D06}" dt="2022-08-09T19:52:14.416" v="6542" actId="947"/>
          <ac:spMkLst>
            <pc:docMk/>
            <pc:sldMk cId="444184502" sldId="297"/>
            <ac:spMk id="2" creationId="{C274B575-B31C-415F-AF62-A305A7D4E415}"/>
          </ac:spMkLst>
        </pc:spChg>
        <pc:spChg chg="mod">
          <ac:chgData name="Daniel Esteban Ortiz Carvajal" userId="c61208ed-cfc9-41db-b98e-8ca1e81cbf8a" providerId="ADAL" clId="{460B01F5-D0D7-4F46-BDC5-EE5905768D06}" dt="2022-08-09T19:52:14.430" v="6544" actId="947"/>
          <ac:spMkLst>
            <pc:docMk/>
            <pc:sldMk cId="444184502" sldId="297"/>
            <ac:spMk id="3" creationId="{9F907A29-1784-4E0C-A8FE-033C7E24E547}"/>
          </ac:spMkLst>
        </pc:spChg>
        <pc:spChg chg="mod">
          <ac:chgData name="Daniel Esteban Ortiz Carvajal" userId="c61208ed-cfc9-41db-b98e-8ca1e81cbf8a" providerId="ADAL" clId="{460B01F5-D0D7-4F46-BDC5-EE5905768D06}" dt="2022-08-09T19:52:14.450" v="6552" actId="20577"/>
          <ac:spMkLst>
            <pc:docMk/>
            <pc:sldMk cId="444184502" sldId="297"/>
            <ac:spMk id="6" creationId="{1B910787-D403-4D8F-880F-C1267C8DF510}"/>
          </ac:spMkLst>
        </pc:spChg>
        <pc:spChg chg="mod">
          <ac:chgData name="Daniel Esteban Ortiz Carvajal" userId="c61208ed-cfc9-41db-b98e-8ca1e81cbf8a" providerId="ADAL" clId="{460B01F5-D0D7-4F46-BDC5-EE5905768D06}" dt="2022-08-09T19:52:14.465" v="6558" actId="947"/>
          <ac:spMkLst>
            <pc:docMk/>
            <pc:sldMk cId="444184502" sldId="297"/>
            <ac:spMk id="8" creationId="{64C9B2A5-E123-411B-82E3-2C2D2D6DEB02}"/>
          </ac:spMkLst>
        </pc:spChg>
        <pc:spChg chg="mod">
          <ac:chgData name="Daniel Esteban Ortiz Carvajal" userId="c61208ed-cfc9-41db-b98e-8ca1e81cbf8a" providerId="ADAL" clId="{460B01F5-D0D7-4F46-BDC5-EE5905768D06}" dt="2022-08-09T19:52:14.441" v="6548" actId="20577"/>
          <ac:spMkLst>
            <pc:docMk/>
            <pc:sldMk cId="444184502" sldId="297"/>
            <ac:spMk id="9" creationId="{B75DBDDE-9615-4777-B224-B11AE13A50E9}"/>
          </ac:spMkLst>
        </pc:spChg>
        <pc:spChg chg="mod">
          <ac:chgData name="Daniel Esteban Ortiz Carvajal" userId="c61208ed-cfc9-41db-b98e-8ca1e81cbf8a" providerId="ADAL" clId="{460B01F5-D0D7-4F46-BDC5-EE5905768D06}" dt="2022-08-09T19:52:14.460" v="6556" actId="20577"/>
          <ac:spMkLst>
            <pc:docMk/>
            <pc:sldMk cId="444184502" sldId="297"/>
            <ac:spMk id="10" creationId="{7C95F1B8-906B-4245-B962-5330554CFF57}"/>
          </ac:spMkLst>
        </pc:spChg>
        <pc:graphicFrameChg chg="mod ord modVis replST">
          <ac:chgData name="Daniel Esteban Ortiz Carvajal" userId="c61208ed-cfc9-41db-b98e-8ca1e81cbf8a" providerId="ADAL" clId="{460B01F5-D0D7-4F46-BDC5-EE5905768D06}" dt="2022-08-09T19:52:19.096" v="7992" actId="1076"/>
          <ac:graphicFrameMkLst>
            <pc:docMk/>
            <pc:sldMk cId="444184502" sldId="297"/>
            <ac:graphicFrameMk id="4" creationId="{7AC8264A-8397-4005-A653-D30449522C7C}"/>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476374041" sldId="298"/>
        </pc:sldMkLst>
        <pc:spChg chg="mod">
          <ac:chgData name="Daniel Esteban Ortiz Carvajal" userId="c61208ed-cfc9-41db-b98e-8ca1e81cbf8a" providerId="ADAL" clId="{460B01F5-D0D7-4F46-BDC5-EE5905768D06}" dt="2022-08-09T19:52:14.471" v="6560" actId="947"/>
          <ac:spMkLst>
            <pc:docMk/>
            <pc:sldMk cId="476374041" sldId="298"/>
            <ac:spMk id="2" creationId="{C274B575-B31C-415F-AF62-A305A7D4E415}"/>
          </ac:spMkLst>
        </pc:spChg>
        <pc:spChg chg="mod">
          <ac:chgData name="Daniel Esteban Ortiz Carvajal" userId="c61208ed-cfc9-41db-b98e-8ca1e81cbf8a" providerId="ADAL" clId="{460B01F5-D0D7-4F46-BDC5-EE5905768D06}" dt="2022-08-09T19:52:14.476" v="6562" actId="947"/>
          <ac:spMkLst>
            <pc:docMk/>
            <pc:sldMk cId="476374041" sldId="298"/>
            <ac:spMk id="3" creationId="{9F907A29-1784-4E0C-A8FE-033C7E24E547}"/>
          </ac:spMkLst>
        </pc:spChg>
        <pc:spChg chg="mod">
          <ac:chgData name="Daniel Esteban Ortiz Carvajal" userId="c61208ed-cfc9-41db-b98e-8ca1e81cbf8a" providerId="ADAL" clId="{460B01F5-D0D7-4F46-BDC5-EE5905768D06}" dt="2022-08-09T19:52:14.490" v="6570" actId="20577"/>
          <ac:spMkLst>
            <pc:docMk/>
            <pc:sldMk cId="476374041" sldId="298"/>
            <ac:spMk id="6" creationId="{1B910787-D403-4D8F-880F-C1267C8DF510}"/>
          </ac:spMkLst>
        </pc:spChg>
        <pc:spChg chg="mod">
          <ac:chgData name="Daniel Esteban Ortiz Carvajal" userId="c61208ed-cfc9-41db-b98e-8ca1e81cbf8a" providerId="ADAL" clId="{460B01F5-D0D7-4F46-BDC5-EE5905768D06}" dt="2022-08-09T19:52:14.495" v="6572" actId="947"/>
          <ac:spMkLst>
            <pc:docMk/>
            <pc:sldMk cId="476374041" sldId="298"/>
            <ac:spMk id="8" creationId="{A92AD4E2-E77B-4608-8E8B-1E0954491076}"/>
          </ac:spMkLst>
        </pc:spChg>
        <pc:spChg chg="mod">
          <ac:chgData name="Daniel Esteban Ortiz Carvajal" userId="c61208ed-cfc9-41db-b98e-8ca1e81cbf8a" providerId="ADAL" clId="{460B01F5-D0D7-4F46-BDC5-EE5905768D06}" dt="2022-08-09T19:52:14.485" v="6566" actId="20577"/>
          <ac:spMkLst>
            <pc:docMk/>
            <pc:sldMk cId="476374041" sldId="298"/>
            <ac:spMk id="9" creationId="{B75DBDDE-9615-4777-B224-B11AE13A50E9}"/>
          </ac:spMkLst>
        </pc:spChg>
        <pc:spChg chg="mod">
          <ac:chgData name="Daniel Esteban Ortiz Carvajal" userId="c61208ed-cfc9-41db-b98e-8ca1e81cbf8a" providerId="ADAL" clId="{460B01F5-D0D7-4F46-BDC5-EE5905768D06}" dt="2022-08-09T19:52:14.505" v="6576" actId="20577"/>
          <ac:spMkLst>
            <pc:docMk/>
            <pc:sldMk cId="476374041" sldId="298"/>
            <ac:spMk id="10" creationId="{C65E88A4-F910-49CF-94D7-FDAD59A8014B}"/>
          </ac:spMkLst>
        </pc:spChg>
        <pc:graphicFrameChg chg="mod ord modVis replST">
          <ac:chgData name="Daniel Esteban Ortiz Carvajal" userId="c61208ed-cfc9-41db-b98e-8ca1e81cbf8a" providerId="ADAL" clId="{460B01F5-D0D7-4F46-BDC5-EE5905768D06}" dt="2022-08-09T19:52:19.136" v="8000" actId="1076"/>
          <ac:graphicFrameMkLst>
            <pc:docMk/>
            <pc:sldMk cId="476374041" sldId="298"/>
            <ac:graphicFrameMk id="4" creationId="{928DBE16-4F60-4B1D-8B79-38B3F0CF297C}"/>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527354676" sldId="299"/>
        </pc:sldMkLst>
        <pc:spChg chg="mod">
          <ac:chgData name="Daniel Esteban Ortiz Carvajal" userId="c61208ed-cfc9-41db-b98e-8ca1e81cbf8a" providerId="ADAL" clId="{460B01F5-D0D7-4F46-BDC5-EE5905768D06}" dt="2022-08-09T19:52:14.505" v="6578" actId="947"/>
          <ac:spMkLst>
            <pc:docMk/>
            <pc:sldMk cId="3527354676" sldId="299"/>
            <ac:spMk id="2" creationId="{C274B575-B31C-415F-AF62-A305A7D4E415}"/>
          </ac:spMkLst>
        </pc:spChg>
        <pc:spChg chg="mod">
          <ac:chgData name="Daniel Esteban Ortiz Carvajal" userId="c61208ed-cfc9-41db-b98e-8ca1e81cbf8a" providerId="ADAL" clId="{460B01F5-D0D7-4F46-BDC5-EE5905768D06}" dt="2022-08-09T19:52:14.516" v="6580" actId="947"/>
          <ac:spMkLst>
            <pc:docMk/>
            <pc:sldMk cId="3527354676" sldId="299"/>
            <ac:spMk id="3" creationId="{9F907A29-1784-4E0C-A8FE-033C7E24E547}"/>
          </ac:spMkLst>
        </pc:spChg>
        <pc:spChg chg="mod">
          <ac:chgData name="Daniel Esteban Ortiz Carvajal" userId="c61208ed-cfc9-41db-b98e-8ca1e81cbf8a" providerId="ADAL" clId="{460B01F5-D0D7-4F46-BDC5-EE5905768D06}" dt="2022-08-09T19:52:14.525" v="6588" actId="20577"/>
          <ac:spMkLst>
            <pc:docMk/>
            <pc:sldMk cId="3527354676" sldId="299"/>
            <ac:spMk id="6" creationId="{1B910787-D403-4D8F-880F-C1267C8DF510}"/>
          </ac:spMkLst>
        </pc:spChg>
        <pc:spChg chg="mod">
          <ac:chgData name="Daniel Esteban Ortiz Carvajal" userId="c61208ed-cfc9-41db-b98e-8ca1e81cbf8a" providerId="ADAL" clId="{460B01F5-D0D7-4F46-BDC5-EE5905768D06}" dt="2022-08-09T19:52:14.536" v="6590" actId="947"/>
          <ac:spMkLst>
            <pc:docMk/>
            <pc:sldMk cId="3527354676" sldId="299"/>
            <ac:spMk id="7" creationId="{E92AC71E-8ED0-4788-A87B-EBCF532B3661}"/>
          </ac:spMkLst>
        </pc:spChg>
        <pc:spChg chg="mod">
          <ac:chgData name="Daniel Esteban Ortiz Carvajal" userId="c61208ed-cfc9-41db-b98e-8ca1e81cbf8a" providerId="ADAL" clId="{460B01F5-D0D7-4F46-BDC5-EE5905768D06}" dt="2022-08-09T19:52:14.516" v="6584" actId="20577"/>
          <ac:spMkLst>
            <pc:docMk/>
            <pc:sldMk cId="3527354676" sldId="299"/>
            <ac:spMk id="9" creationId="{B75DBDDE-9615-4777-B224-B11AE13A50E9}"/>
          </ac:spMkLst>
        </pc:spChg>
        <pc:graphicFrameChg chg="mod ord modVis replST">
          <ac:chgData name="Daniel Esteban Ortiz Carvajal" userId="c61208ed-cfc9-41db-b98e-8ca1e81cbf8a" providerId="ADAL" clId="{460B01F5-D0D7-4F46-BDC5-EE5905768D06}" dt="2022-08-09T19:52:19.176" v="8008" actId="1076"/>
          <ac:graphicFrameMkLst>
            <pc:docMk/>
            <pc:sldMk cId="3527354676" sldId="299"/>
            <ac:graphicFrameMk id="4" creationId="{9DB88B11-7F1F-4BA4-AFE8-D622D1D4D5B7}"/>
          </ac:graphicFrameMkLst>
        </pc:graphicFrameChg>
      </pc:sldChg>
      <pc:sldChg chg="addSp delSp modSp mod modNotes">
        <pc:chgData name="Daniel Esteban Ortiz Carvajal" userId="c61208ed-cfc9-41db-b98e-8ca1e81cbf8a" providerId="ADAL" clId="{460B01F5-D0D7-4F46-BDC5-EE5905768D06}" dt="2022-08-09T19:52:18.666" v="7911" actId="1076"/>
        <pc:sldMkLst>
          <pc:docMk/>
          <pc:sldMk cId="3851816687" sldId="303"/>
        </pc:sldMkLst>
        <pc:spChg chg="mod">
          <ac:chgData name="Daniel Esteban Ortiz Carvajal" userId="c61208ed-cfc9-41db-b98e-8ca1e81cbf8a" providerId="ADAL" clId="{460B01F5-D0D7-4F46-BDC5-EE5905768D06}" dt="2022-08-09T19:52:13.485" v="6154" actId="947"/>
          <ac:spMkLst>
            <pc:docMk/>
            <pc:sldMk cId="3851816687" sldId="303"/>
            <ac:spMk id="10" creationId="{0975EA33-F044-4B64-887E-720C7E5ABEDA}"/>
          </ac:spMkLst>
        </pc:spChg>
        <pc:spChg chg="del mod">
          <ac:chgData name="Daniel Esteban Ortiz Carvajal" userId="c61208ed-cfc9-41db-b98e-8ca1e81cbf8a" providerId="ADAL" clId="{460B01F5-D0D7-4F46-BDC5-EE5905768D06}" dt="2022-08-09T19:35:57.902" v="45" actId="478"/>
          <ac:spMkLst>
            <pc:docMk/>
            <pc:sldMk cId="3851816687" sldId="303"/>
            <ac:spMk id="12" creationId="{EE781E55-36B2-4CD5-8D73-8B289B755A14}"/>
          </ac:spMkLst>
        </pc:spChg>
        <pc:spChg chg="mod">
          <ac:chgData name="Daniel Esteban Ortiz Carvajal" userId="c61208ed-cfc9-41db-b98e-8ca1e81cbf8a" providerId="ADAL" clId="{460B01F5-D0D7-4F46-BDC5-EE5905768D06}" dt="2022-08-09T19:52:13.496" v="6158" actId="20577"/>
          <ac:spMkLst>
            <pc:docMk/>
            <pc:sldMk cId="3851816687" sldId="303"/>
            <ac:spMk id="13" creationId="{8592DE82-C85A-4BB3-97DB-BCCC86BB74BA}"/>
          </ac:spMkLst>
        </pc:spChg>
        <pc:spChg chg="mod">
          <ac:chgData name="Daniel Esteban Ortiz Carvajal" userId="c61208ed-cfc9-41db-b98e-8ca1e81cbf8a" providerId="ADAL" clId="{460B01F5-D0D7-4F46-BDC5-EE5905768D06}" dt="2022-08-09T19:52:13.505" v="6160" actId="947"/>
          <ac:spMkLst>
            <pc:docMk/>
            <pc:sldMk cId="3851816687" sldId="303"/>
            <ac:spMk id="14" creationId="{BD3EA365-FDD1-4837-A7F1-9054D1536B32}"/>
          </ac:spMkLst>
        </pc:spChg>
        <pc:graphicFrameChg chg="mod ord modVis replST">
          <ac:chgData name="Daniel Esteban Ortiz Carvajal" userId="c61208ed-cfc9-41db-b98e-8ca1e81cbf8a" providerId="ADAL" clId="{460B01F5-D0D7-4F46-BDC5-EE5905768D06}" dt="2022-08-09T19:52:18.666" v="7911" actId="1076"/>
          <ac:graphicFrameMkLst>
            <pc:docMk/>
            <pc:sldMk cId="3851816687" sldId="303"/>
            <ac:graphicFrameMk id="2" creationId="{A47ED0C0-D474-4999-938B-CD764FECA60A}"/>
          </ac:graphicFrameMkLst>
        </pc:graphicFrameChg>
        <pc:picChg chg="add mod">
          <ac:chgData name="Daniel Esteban Ortiz Carvajal" userId="c61208ed-cfc9-41db-b98e-8ca1e81cbf8a" providerId="ADAL" clId="{460B01F5-D0D7-4F46-BDC5-EE5905768D06}" dt="2022-08-09T19:39:32.091" v="86" actId="1076"/>
          <ac:picMkLst>
            <pc:docMk/>
            <pc:sldMk cId="3851816687" sldId="303"/>
            <ac:picMk id="1026" creationId="{15437220-A878-43E7-B863-6A7209EE1E36}"/>
          </ac:picMkLst>
        </pc:picChg>
      </pc:sldChg>
      <pc:sldChg chg="modSp del mod modNotes">
        <pc:chgData name="Daniel Esteban Ortiz Carvajal" userId="c61208ed-cfc9-41db-b98e-8ca1e81cbf8a" providerId="ADAL" clId="{460B01F5-D0D7-4F46-BDC5-EE5905768D06}" dt="2022-08-09T23:01:30.037" v="10521" actId="47"/>
        <pc:sldMkLst>
          <pc:docMk/>
          <pc:sldMk cId="1084323970" sldId="304"/>
        </pc:sldMkLst>
        <pc:spChg chg="mod">
          <ac:chgData name="Daniel Esteban Ortiz Carvajal" userId="c61208ed-cfc9-41db-b98e-8ca1e81cbf8a" providerId="ADAL" clId="{460B01F5-D0D7-4F46-BDC5-EE5905768D06}" dt="2022-08-09T19:52:13.840" v="6306" actId="20577"/>
          <ac:spMkLst>
            <pc:docMk/>
            <pc:sldMk cId="1084323970" sldId="304"/>
            <ac:spMk id="3" creationId="{EF5E42A9-FE9B-4F9B-817A-F41628599774}"/>
          </ac:spMkLst>
        </pc:spChg>
        <pc:spChg chg="mod">
          <ac:chgData name="Daniel Esteban Ortiz Carvajal" userId="c61208ed-cfc9-41db-b98e-8ca1e81cbf8a" providerId="ADAL" clId="{460B01F5-D0D7-4F46-BDC5-EE5905768D06}" dt="2022-08-09T19:52:13.841" v="6308" actId="947"/>
          <ac:spMkLst>
            <pc:docMk/>
            <pc:sldMk cId="1084323970" sldId="304"/>
            <ac:spMk id="4" creationId="{1D06EEA5-DE37-44A9-8FA9-CDD3C802D996}"/>
          </ac:spMkLst>
        </pc:spChg>
        <pc:spChg chg="mod">
          <ac:chgData name="Daniel Esteban Ortiz Carvajal" userId="c61208ed-cfc9-41db-b98e-8ca1e81cbf8a" providerId="ADAL" clId="{460B01F5-D0D7-4F46-BDC5-EE5905768D06}" dt="2022-08-09T19:52:13.845" v="6310" actId="947"/>
          <ac:spMkLst>
            <pc:docMk/>
            <pc:sldMk cId="1084323970" sldId="304"/>
            <ac:spMk id="9" creationId="{B0AC231E-24D0-47D9-A346-13D09D845293}"/>
          </ac:spMkLst>
        </pc:spChg>
        <pc:graphicFrameChg chg="mod ord modVis replST">
          <ac:chgData name="Daniel Esteban Ortiz Carvajal" userId="c61208ed-cfc9-41db-b98e-8ca1e81cbf8a" providerId="ADAL" clId="{460B01F5-D0D7-4F46-BDC5-EE5905768D06}" dt="2022-08-09T19:52:19.936" v="8162" actId="1076"/>
          <ac:graphicFrameMkLst>
            <pc:docMk/>
            <pc:sldMk cId="1084323970" sldId="304"/>
            <ac:graphicFrameMk id="2" creationId="{E29CCC2C-32EE-48A6-B95F-3105815F960A}"/>
          </ac:graphicFrameMkLst>
        </pc:graphicFrameChg>
      </pc:sldChg>
      <pc:sldChg chg="addSp delSp modSp mod modNotes">
        <pc:chgData name="Daniel Esteban Ortiz Carvajal" userId="c61208ed-cfc9-41db-b98e-8ca1e81cbf8a" providerId="ADAL" clId="{460B01F5-D0D7-4F46-BDC5-EE5905768D06}" dt="2022-08-10T14:17:19.376" v="11137" actId="20577"/>
        <pc:sldMkLst>
          <pc:docMk/>
          <pc:sldMk cId="3585969165" sldId="305"/>
        </pc:sldMkLst>
        <pc:spChg chg="del">
          <ac:chgData name="Daniel Esteban Ortiz Carvajal" userId="c61208ed-cfc9-41db-b98e-8ca1e81cbf8a" providerId="ADAL" clId="{460B01F5-D0D7-4F46-BDC5-EE5905768D06}" dt="2022-08-09T19:37:30.461" v="75" actId="478"/>
          <ac:spMkLst>
            <pc:docMk/>
            <pc:sldMk cId="3585969165" sldId="305"/>
            <ac:spMk id="3" creationId="{EF5E42A9-FE9B-4F9B-817A-F41628599774}"/>
          </ac:spMkLst>
        </pc:spChg>
        <pc:spChg chg="mod">
          <ac:chgData name="Daniel Esteban Ortiz Carvajal" userId="c61208ed-cfc9-41db-b98e-8ca1e81cbf8a" providerId="ADAL" clId="{460B01F5-D0D7-4F46-BDC5-EE5905768D06}" dt="2022-08-09T19:52:13.505" v="6162" actId="947"/>
          <ac:spMkLst>
            <pc:docMk/>
            <pc:sldMk cId="3585969165" sldId="305"/>
            <ac:spMk id="4" creationId="{1D06EEA5-DE37-44A9-8FA9-CDD3C802D996}"/>
          </ac:spMkLst>
        </pc:spChg>
        <pc:spChg chg="add del mod">
          <ac:chgData name="Daniel Esteban Ortiz Carvajal" userId="c61208ed-cfc9-41db-b98e-8ca1e81cbf8a" providerId="ADAL" clId="{460B01F5-D0D7-4F46-BDC5-EE5905768D06}" dt="2022-08-09T19:42:02.345" v="126" actId="478"/>
          <ac:spMkLst>
            <pc:docMk/>
            <pc:sldMk cId="3585969165" sldId="305"/>
            <ac:spMk id="8" creationId="{691191EA-B251-4EEE-BE7D-BA911F129AC8}"/>
          </ac:spMkLst>
        </pc:spChg>
        <pc:spChg chg="mod">
          <ac:chgData name="Daniel Esteban Ortiz Carvajal" userId="c61208ed-cfc9-41db-b98e-8ca1e81cbf8a" providerId="ADAL" clId="{460B01F5-D0D7-4F46-BDC5-EE5905768D06}" dt="2022-08-09T19:52:13.510" v="6164" actId="947"/>
          <ac:spMkLst>
            <pc:docMk/>
            <pc:sldMk cId="3585969165" sldId="305"/>
            <ac:spMk id="9" creationId="{B0AC231E-24D0-47D9-A346-13D09D845293}"/>
          </ac:spMkLst>
        </pc:spChg>
        <pc:spChg chg="del">
          <ac:chgData name="Daniel Esteban Ortiz Carvajal" userId="c61208ed-cfc9-41db-b98e-8ca1e81cbf8a" providerId="ADAL" clId="{460B01F5-D0D7-4F46-BDC5-EE5905768D06}" dt="2022-08-09T19:40:24.426" v="100" actId="478"/>
          <ac:spMkLst>
            <pc:docMk/>
            <pc:sldMk cId="3585969165" sldId="305"/>
            <ac:spMk id="10" creationId="{0FE37FFB-6708-468B-B49A-ACC8AF1A7C8D}"/>
          </ac:spMkLst>
        </pc:spChg>
        <pc:spChg chg="add mod">
          <ac:chgData name="Daniel Esteban Ortiz Carvajal" userId="c61208ed-cfc9-41db-b98e-8ca1e81cbf8a" providerId="ADAL" clId="{460B01F5-D0D7-4F46-BDC5-EE5905768D06}" dt="2022-08-10T14:17:19.376" v="11137" actId="20577"/>
          <ac:spMkLst>
            <pc:docMk/>
            <pc:sldMk cId="3585969165" sldId="305"/>
            <ac:spMk id="11" creationId="{26517BED-F2B2-4B7E-B542-C98D2F766B72}"/>
          </ac:spMkLst>
        </pc:spChg>
        <pc:graphicFrameChg chg="add mod ord modVis replST">
          <ac:chgData name="Daniel Esteban Ortiz Carvajal" userId="c61208ed-cfc9-41db-b98e-8ca1e81cbf8a" providerId="ADAL" clId="{460B01F5-D0D7-4F46-BDC5-EE5905768D06}" dt="2022-08-09T19:52:18.675" v="7912" actId="1076"/>
          <ac:graphicFrameMkLst>
            <pc:docMk/>
            <pc:sldMk cId="3585969165" sldId="305"/>
            <ac:graphicFrameMk id="2" creationId="{6CE88ED2-A91D-4088-AC55-9DFBD445D3FB}"/>
          </ac:graphicFrameMkLst>
        </pc:graphicFrameChg>
        <pc:picChg chg="del">
          <ac:chgData name="Daniel Esteban Ortiz Carvajal" userId="c61208ed-cfc9-41db-b98e-8ca1e81cbf8a" providerId="ADAL" clId="{460B01F5-D0D7-4F46-BDC5-EE5905768D06}" dt="2022-08-09T19:37:48.828" v="84" actId="478"/>
          <ac:picMkLst>
            <pc:docMk/>
            <pc:sldMk cId="3585969165" sldId="305"/>
            <ac:picMk id="1026" creationId="{1923A345-102D-4653-B3F0-98E871F126EA}"/>
          </ac:picMkLst>
        </pc:picChg>
      </pc:sldChg>
      <pc:sldChg chg="addSp delSp modSp mod modNotes">
        <pc:chgData name="Daniel Esteban Ortiz Carvajal" userId="c61208ed-cfc9-41db-b98e-8ca1e81cbf8a" providerId="ADAL" clId="{460B01F5-D0D7-4F46-BDC5-EE5905768D06}" dt="2022-08-10T00:41:39.745" v="11057" actId="20577"/>
        <pc:sldMkLst>
          <pc:docMk/>
          <pc:sldMk cId="3372177359" sldId="306"/>
        </pc:sldMkLst>
        <pc:spChg chg="mod ord">
          <ac:chgData name="Daniel Esteban Ortiz Carvajal" userId="c61208ed-cfc9-41db-b98e-8ca1e81cbf8a" providerId="ADAL" clId="{460B01F5-D0D7-4F46-BDC5-EE5905768D06}" dt="2022-08-09T20:12:23.465" v="9200" actId="20577"/>
          <ac:spMkLst>
            <pc:docMk/>
            <pc:sldMk cId="3372177359" sldId="306"/>
            <ac:spMk id="2" creationId="{C274B575-B31C-415F-AF62-A305A7D4E415}"/>
          </ac:spMkLst>
        </pc:spChg>
        <pc:spChg chg="mod ord">
          <ac:chgData name="Daniel Esteban Ortiz Carvajal" userId="c61208ed-cfc9-41db-b98e-8ca1e81cbf8a" providerId="ADAL" clId="{460B01F5-D0D7-4F46-BDC5-EE5905768D06}" dt="2022-08-09T19:56:28.366" v="8764"/>
          <ac:spMkLst>
            <pc:docMk/>
            <pc:sldMk cId="3372177359" sldId="306"/>
            <ac:spMk id="3" creationId="{9F907A29-1784-4E0C-A8FE-033C7E24E547}"/>
          </ac:spMkLst>
        </pc:spChg>
        <pc:spChg chg="mod ord">
          <ac:chgData name="Daniel Esteban Ortiz Carvajal" userId="c61208ed-cfc9-41db-b98e-8ca1e81cbf8a" providerId="ADAL" clId="{460B01F5-D0D7-4F46-BDC5-EE5905768D06}" dt="2022-08-09T19:56:28.366" v="8766"/>
          <ac:spMkLst>
            <pc:docMk/>
            <pc:sldMk cId="3372177359" sldId="306"/>
            <ac:spMk id="7" creationId="{0A875C65-F8AE-41DF-8148-5FCD78A6295A}"/>
          </ac:spMkLst>
        </pc:spChg>
        <pc:spChg chg="mod ord">
          <ac:chgData name="Daniel Esteban Ortiz Carvajal" userId="c61208ed-cfc9-41db-b98e-8ca1e81cbf8a" providerId="ADAL" clId="{460B01F5-D0D7-4F46-BDC5-EE5905768D06}" dt="2022-08-10T00:41:39.745" v="11057" actId="20577"/>
          <ac:spMkLst>
            <pc:docMk/>
            <pc:sldMk cId="3372177359" sldId="306"/>
            <ac:spMk id="9" creationId="{A7CFFEEC-CD8B-4DE4-8D67-5998B18D73F4}"/>
          </ac:spMkLst>
        </pc:spChg>
        <pc:spChg chg="mod ord">
          <ac:chgData name="Daniel Esteban Ortiz Carvajal" userId="c61208ed-cfc9-41db-b98e-8ca1e81cbf8a" providerId="ADAL" clId="{460B01F5-D0D7-4F46-BDC5-EE5905768D06}" dt="2022-08-09T19:56:54.007" v="8781" actId="1076"/>
          <ac:spMkLst>
            <pc:docMk/>
            <pc:sldMk cId="3372177359" sldId="306"/>
            <ac:spMk id="11" creationId="{C3817D5B-1AF9-4157-83E9-F32F433F749A}"/>
          </ac:spMkLst>
        </pc:spChg>
        <pc:graphicFrameChg chg="mod ord modVis replST">
          <ac:chgData name="Daniel Esteban Ortiz Carvajal" userId="c61208ed-cfc9-41db-b98e-8ca1e81cbf8a" providerId="ADAL" clId="{460B01F5-D0D7-4F46-BDC5-EE5905768D06}" dt="2022-08-09T19:56:28.376" v="8776"/>
          <ac:graphicFrameMkLst>
            <pc:docMk/>
            <pc:sldMk cId="3372177359" sldId="306"/>
            <ac:graphicFrameMk id="4" creationId="{C9C26DB0-4F48-4A60-A028-DB70D851EF57}"/>
          </ac:graphicFrameMkLst>
        </pc:graphicFrameChg>
        <pc:picChg chg="add mod ord">
          <ac:chgData name="Daniel Esteban Ortiz Carvajal" userId="c61208ed-cfc9-41db-b98e-8ca1e81cbf8a" providerId="ADAL" clId="{460B01F5-D0D7-4F46-BDC5-EE5905768D06}" dt="2022-08-09T19:57:39.993" v="8784" actId="1440"/>
          <ac:picMkLst>
            <pc:docMk/>
            <pc:sldMk cId="3372177359" sldId="306"/>
            <ac:picMk id="6" creationId="{82C71780-7402-4552-BAE0-C09AA099040D}"/>
          </ac:picMkLst>
        </pc:picChg>
        <pc:picChg chg="mod">
          <ac:chgData name="Daniel Esteban Ortiz Carvajal" userId="c61208ed-cfc9-41db-b98e-8ca1e81cbf8a" providerId="ADAL" clId="{460B01F5-D0D7-4F46-BDC5-EE5905768D06}" dt="2022-08-09T19:56:28.366" v="8767"/>
          <ac:picMkLst>
            <pc:docMk/>
            <pc:sldMk cId="3372177359" sldId="306"/>
            <ac:picMk id="8" creationId="{C3D6A48E-C970-495C-A434-970839963903}"/>
          </ac:picMkLst>
        </pc:picChg>
        <pc:picChg chg="del">
          <ac:chgData name="Daniel Esteban Ortiz Carvajal" userId="c61208ed-cfc9-41db-b98e-8ca1e81cbf8a" providerId="ADAL" clId="{460B01F5-D0D7-4F46-BDC5-EE5905768D06}" dt="2022-08-09T19:56:05.793" v="8753" actId="478"/>
          <ac:picMkLst>
            <pc:docMk/>
            <pc:sldMk cId="3372177359" sldId="306"/>
            <ac:picMk id="10" creationId="{B62D5731-1D7D-4FE1-8AAB-47F943948F07}"/>
          </ac:picMkLst>
        </pc:picChg>
      </pc:sldChg>
      <pc:sldChg chg="modSp del mod modNotes">
        <pc:chgData name="Daniel Esteban Ortiz Carvajal" userId="c61208ed-cfc9-41db-b98e-8ca1e81cbf8a" providerId="ADAL" clId="{460B01F5-D0D7-4F46-BDC5-EE5905768D06}" dt="2022-08-09T23:01:30.037" v="10521" actId="47"/>
        <pc:sldMkLst>
          <pc:docMk/>
          <pc:sldMk cId="3764978459" sldId="307"/>
        </pc:sldMkLst>
        <pc:spChg chg="mod">
          <ac:chgData name="Daniel Esteban Ortiz Carvajal" userId="c61208ed-cfc9-41db-b98e-8ca1e81cbf8a" providerId="ADAL" clId="{460B01F5-D0D7-4F46-BDC5-EE5905768D06}" dt="2022-08-09T20:31:02.645" v="9284" actId="20577"/>
          <ac:spMkLst>
            <pc:docMk/>
            <pc:sldMk cId="3764978459" sldId="307"/>
            <ac:spMk id="3" creationId="{A25A4615-5166-477B-8DD5-329A14DF04D2}"/>
          </ac:spMkLst>
        </pc:spChg>
        <pc:spChg chg="mod">
          <ac:chgData name="Daniel Esteban Ortiz Carvajal" userId="c61208ed-cfc9-41db-b98e-8ca1e81cbf8a" providerId="ADAL" clId="{460B01F5-D0D7-4F46-BDC5-EE5905768D06}" dt="2022-08-09T19:52:13.556" v="6182" actId="947"/>
          <ac:spMkLst>
            <pc:docMk/>
            <pc:sldMk cId="3764978459" sldId="307"/>
            <ac:spMk id="4" creationId="{75D9AB4D-B17A-42FB-A14A-3F3894FB87AE}"/>
          </ac:spMkLst>
        </pc:spChg>
        <pc:spChg chg="mod">
          <ac:chgData name="Daniel Esteban Ortiz Carvajal" userId="c61208ed-cfc9-41db-b98e-8ca1e81cbf8a" providerId="ADAL" clId="{460B01F5-D0D7-4F46-BDC5-EE5905768D06}" dt="2022-08-09T19:52:13.566" v="6186" actId="20577"/>
          <ac:spMkLst>
            <pc:docMk/>
            <pc:sldMk cId="3764978459" sldId="307"/>
            <ac:spMk id="7" creationId="{69B4575C-D254-4031-A6C9-AF9D5F332B4F}"/>
          </ac:spMkLst>
        </pc:spChg>
        <pc:spChg chg="mod">
          <ac:chgData name="Daniel Esteban Ortiz Carvajal" userId="c61208ed-cfc9-41db-b98e-8ca1e81cbf8a" providerId="ADAL" clId="{460B01F5-D0D7-4F46-BDC5-EE5905768D06}" dt="2022-08-09T19:52:13.566" v="6188" actId="947"/>
          <ac:spMkLst>
            <pc:docMk/>
            <pc:sldMk cId="3764978459" sldId="307"/>
            <ac:spMk id="8" creationId="{4784C10D-1953-445E-9204-1DE1DDDE9A4E}"/>
          </ac:spMkLst>
        </pc:spChg>
        <pc:graphicFrameChg chg="mod ord modVis replST">
          <ac:chgData name="Daniel Esteban Ortiz Carvajal" userId="c61208ed-cfc9-41db-b98e-8ca1e81cbf8a" providerId="ADAL" clId="{460B01F5-D0D7-4F46-BDC5-EE5905768D06}" dt="2022-08-09T19:52:19.376" v="8049" actId="1076"/>
          <ac:graphicFrameMkLst>
            <pc:docMk/>
            <pc:sldMk cId="3764978459" sldId="307"/>
            <ac:graphicFrameMk id="2" creationId="{71F9CCA7-BF27-4658-8D89-FE07F08F7890}"/>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765546986" sldId="308"/>
        </pc:sldMkLst>
        <pc:spChg chg="mod">
          <ac:chgData name="Daniel Esteban Ortiz Carvajal" userId="c61208ed-cfc9-41db-b98e-8ca1e81cbf8a" providerId="ADAL" clId="{460B01F5-D0D7-4F46-BDC5-EE5905768D06}" dt="2022-08-09T19:52:13.575" v="6190" actId="947"/>
          <ac:spMkLst>
            <pc:docMk/>
            <pc:sldMk cId="1765546986" sldId="308"/>
            <ac:spMk id="3" creationId="{A25A4615-5166-477B-8DD5-329A14DF04D2}"/>
          </ac:spMkLst>
        </pc:spChg>
        <pc:spChg chg="mod">
          <ac:chgData name="Daniel Esteban Ortiz Carvajal" userId="c61208ed-cfc9-41db-b98e-8ca1e81cbf8a" providerId="ADAL" clId="{460B01F5-D0D7-4F46-BDC5-EE5905768D06}" dt="2022-08-09T19:52:13.575" v="6192" actId="947"/>
          <ac:spMkLst>
            <pc:docMk/>
            <pc:sldMk cId="1765546986" sldId="308"/>
            <ac:spMk id="4" creationId="{75D9AB4D-B17A-42FB-A14A-3F3894FB87AE}"/>
          </ac:spMkLst>
        </pc:spChg>
        <pc:spChg chg="mod">
          <ac:chgData name="Daniel Esteban Ortiz Carvajal" userId="c61208ed-cfc9-41db-b98e-8ca1e81cbf8a" providerId="ADAL" clId="{460B01F5-D0D7-4F46-BDC5-EE5905768D06}" dt="2022-08-09T19:52:13.585" v="6196" actId="20577"/>
          <ac:spMkLst>
            <pc:docMk/>
            <pc:sldMk cId="1765546986" sldId="308"/>
            <ac:spMk id="7" creationId="{69B4575C-D254-4031-A6C9-AF9D5F332B4F}"/>
          </ac:spMkLst>
        </pc:spChg>
        <pc:spChg chg="mod">
          <ac:chgData name="Daniel Esteban Ortiz Carvajal" userId="c61208ed-cfc9-41db-b98e-8ca1e81cbf8a" providerId="ADAL" clId="{460B01F5-D0D7-4F46-BDC5-EE5905768D06}" dt="2022-08-09T19:52:13.585" v="6198" actId="947"/>
          <ac:spMkLst>
            <pc:docMk/>
            <pc:sldMk cId="1765546986" sldId="308"/>
            <ac:spMk id="8" creationId="{B401493F-126C-46C0-8A0A-83D02A09551C}"/>
          </ac:spMkLst>
        </pc:spChg>
        <pc:graphicFrameChg chg="mod ord modVis replST">
          <ac:chgData name="Daniel Esteban Ortiz Carvajal" userId="c61208ed-cfc9-41db-b98e-8ca1e81cbf8a" providerId="ADAL" clId="{460B01F5-D0D7-4F46-BDC5-EE5905768D06}" dt="2022-08-09T19:52:19.416" v="8057" actId="1076"/>
          <ac:graphicFrameMkLst>
            <pc:docMk/>
            <pc:sldMk cId="1765546986" sldId="308"/>
            <ac:graphicFrameMk id="2" creationId="{639BC88A-432A-4723-82C0-1DB9E22CDC8E}"/>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657542768" sldId="309"/>
        </pc:sldMkLst>
        <pc:spChg chg="mod">
          <ac:chgData name="Daniel Esteban Ortiz Carvajal" userId="c61208ed-cfc9-41db-b98e-8ca1e81cbf8a" providerId="ADAL" clId="{460B01F5-D0D7-4F46-BDC5-EE5905768D06}" dt="2022-08-09T19:52:13.595" v="6200" actId="947"/>
          <ac:spMkLst>
            <pc:docMk/>
            <pc:sldMk cId="3657542768" sldId="309"/>
            <ac:spMk id="3" creationId="{A25A4615-5166-477B-8DD5-329A14DF04D2}"/>
          </ac:spMkLst>
        </pc:spChg>
        <pc:spChg chg="mod">
          <ac:chgData name="Daniel Esteban Ortiz Carvajal" userId="c61208ed-cfc9-41db-b98e-8ca1e81cbf8a" providerId="ADAL" clId="{460B01F5-D0D7-4F46-BDC5-EE5905768D06}" dt="2022-08-09T19:52:13.595" v="6202" actId="947"/>
          <ac:spMkLst>
            <pc:docMk/>
            <pc:sldMk cId="3657542768" sldId="309"/>
            <ac:spMk id="4" creationId="{75D9AB4D-B17A-42FB-A14A-3F3894FB87AE}"/>
          </ac:spMkLst>
        </pc:spChg>
        <pc:spChg chg="mod">
          <ac:chgData name="Daniel Esteban Ortiz Carvajal" userId="c61208ed-cfc9-41db-b98e-8ca1e81cbf8a" providerId="ADAL" clId="{460B01F5-D0D7-4F46-BDC5-EE5905768D06}" dt="2022-08-09T19:52:13.606" v="6206" actId="20577"/>
          <ac:spMkLst>
            <pc:docMk/>
            <pc:sldMk cId="3657542768" sldId="309"/>
            <ac:spMk id="7" creationId="{69B4575C-D254-4031-A6C9-AF9D5F332B4F}"/>
          </ac:spMkLst>
        </pc:spChg>
        <pc:spChg chg="mod">
          <ac:chgData name="Daniel Esteban Ortiz Carvajal" userId="c61208ed-cfc9-41db-b98e-8ca1e81cbf8a" providerId="ADAL" clId="{460B01F5-D0D7-4F46-BDC5-EE5905768D06}" dt="2022-08-09T19:52:13.615" v="6208" actId="947"/>
          <ac:spMkLst>
            <pc:docMk/>
            <pc:sldMk cId="3657542768" sldId="309"/>
            <ac:spMk id="8" creationId="{70C5805F-78DC-43DE-A604-82AFC32A4C44}"/>
          </ac:spMkLst>
        </pc:spChg>
        <pc:spChg chg="mod">
          <ac:chgData name="Daniel Esteban Ortiz Carvajal" userId="c61208ed-cfc9-41db-b98e-8ca1e81cbf8a" providerId="ADAL" clId="{460B01F5-D0D7-4F46-BDC5-EE5905768D06}" dt="2022-08-09T19:52:13.615" v="6210" actId="947"/>
          <ac:spMkLst>
            <pc:docMk/>
            <pc:sldMk cId="3657542768" sldId="309"/>
            <ac:spMk id="9" creationId="{E1B505F0-E648-4D85-98F0-BF6B549A46A7}"/>
          </ac:spMkLst>
        </pc:spChg>
        <pc:graphicFrameChg chg="mod ord modVis replST">
          <ac:chgData name="Daniel Esteban Ortiz Carvajal" userId="c61208ed-cfc9-41db-b98e-8ca1e81cbf8a" providerId="ADAL" clId="{460B01F5-D0D7-4F46-BDC5-EE5905768D06}" dt="2022-08-09T19:52:19.336" v="8040" actId="1076"/>
          <ac:graphicFrameMkLst>
            <pc:docMk/>
            <pc:sldMk cId="3657542768" sldId="309"/>
            <ac:graphicFrameMk id="2" creationId="{F179469C-CBD3-4741-94E7-E70D47CEB6C9}"/>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190142019" sldId="310"/>
        </pc:sldMkLst>
        <pc:spChg chg="mod">
          <ac:chgData name="Daniel Esteban Ortiz Carvajal" userId="c61208ed-cfc9-41db-b98e-8ca1e81cbf8a" providerId="ADAL" clId="{460B01F5-D0D7-4F46-BDC5-EE5905768D06}" dt="2022-08-09T19:52:13.615" v="6212" actId="947"/>
          <ac:spMkLst>
            <pc:docMk/>
            <pc:sldMk cId="1190142019" sldId="310"/>
            <ac:spMk id="3" creationId="{B005B9B4-AAD3-492F-A3E1-8B76F3F0D655}"/>
          </ac:spMkLst>
        </pc:spChg>
        <pc:spChg chg="mod">
          <ac:chgData name="Daniel Esteban Ortiz Carvajal" userId="c61208ed-cfc9-41db-b98e-8ca1e81cbf8a" providerId="ADAL" clId="{460B01F5-D0D7-4F46-BDC5-EE5905768D06}" dt="2022-08-09T19:52:13.626" v="6214" actId="947"/>
          <ac:spMkLst>
            <pc:docMk/>
            <pc:sldMk cId="1190142019" sldId="310"/>
            <ac:spMk id="4" creationId="{E84B06EE-851C-42F3-ADCD-FFFF26B8B28E}"/>
          </ac:spMkLst>
        </pc:spChg>
        <pc:spChg chg="mod">
          <ac:chgData name="Daniel Esteban Ortiz Carvajal" userId="c61208ed-cfc9-41db-b98e-8ca1e81cbf8a" providerId="ADAL" clId="{460B01F5-D0D7-4F46-BDC5-EE5905768D06}" dt="2022-08-09T19:52:13.636" v="6218" actId="20577"/>
          <ac:spMkLst>
            <pc:docMk/>
            <pc:sldMk cId="1190142019" sldId="310"/>
            <ac:spMk id="7" creationId="{5C531E1B-90A7-45FD-B545-428CB7CC3ADC}"/>
          </ac:spMkLst>
        </pc:spChg>
        <pc:spChg chg="mod">
          <ac:chgData name="Daniel Esteban Ortiz Carvajal" userId="c61208ed-cfc9-41db-b98e-8ca1e81cbf8a" providerId="ADAL" clId="{460B01F5-D0D7-4F46-BDC5-EE5905768D06}" dt="2022-08-09T19:52:13.641" v="6220" actId="947"/>
          <ac:spMkLst>
            <pc:docMk/>
            <pc:sldMk cId="1190142019" sldId="310"/>
            <ac:spMk id="8" creationId="{27D6D3D6-4696-45EC-AFCF-8EF7406027E6}"/>
          </ac:spMkLst>
        </pc:spChg>
        <pc:graphicFrameChg chg="mod ord modVis replST">
          <ac:chgData name="Daniel Esteban Ortiz Carvajal" userId="c61208ed-cfc9-41db-b98e-8ca1e81cbf8a" providerId="ADAL" clId="{460B01F5-D0D7-4F46-BDC5-EE5905768D06}" dt="2022-08-09T19:52:19.456" v="8065" actId="1076"/>
          <ac:graphicFrameMkLst>
            <pc:docMk/>
            <pc:sldMk cId="1190142019" sldId="310"/>
            <ac:graphicFrameMk id="2" creationId="{5AE7FD9C-B05D-413B-920D-BF5E3802C816}"/>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097591164" sldId="311"/>
        </pc:sldMkLst>
        <pc:spChg chg="mod">
          <ac:chgData name="Daniel Esteban Ortiz Carvajal" userId="c61208ed-cfc9-41db-b98e-8ca1e81cbf8a" providerId="ADAL" clId="{460B01F5-D0D7-4F46-BDC5-EE5905768D06}" dt="2022-08-09T19:52:13.670" v="6232" actId="947"/>
          <ac:spMkLst>
            <pc:docMk/>
            <pc:sldMk cId="1097591164" sldId="311"/>
            <ac:spMk id="3" creationId="{B005B9B4-AAD3-492F-A3E1-8B76F3F0D655}"/>
          </ac:spMkLst>
        </pc:spChg>
        <pc:spChg chg="mod">
          <ac:chgData name="Daniel Esteban Ortiz Carvajal" userId="c61208ed-cfc9-41db-b98e-8ca1e81cbf8a" providerId="ADAL" clId="{460B01F5-D0D7-4F46-BDC5-EE5905768D06}" dt="2022-08-09T19:52:13.670" v="6234" actId="947"/>
          <ac:spMkLst>
            <pc:docMk/>
            <pc:sldMk cId="1097591164" sldId="311"/>
            <ac:spMk id="4" creationId="{E84B06EE-851C-42F3-ADCD-FFFF26B8B28E}"/>
          </ac:spMkLst>
        </pc:spChg>
        <pc:spChg chg="mod">
          <ac:chgData name="Daniel Esteban Ortiz Carvajal" userId="c61208ed-cfc9-41db-b98e-8ca1e81cbf8a" providerId="ADAL" clId="{460B01F5-D0D7-4F46-BDC5-EE5905768D06}" dt="2022-08-09T19:52:13.675" v="6238" actId="20577"/>
          <ac:spMkLst>
            <pc:docMk/>
            <pc:sldMk cId="1097591164" sldId="311"/>
            <ac:spMk id="8" creationId="{6B288AC2-F082-4986-BEA8-4491597C007A}"/>
          </ac:spMkLst>
        </pc:spChg>
        <pc:graphicFrameChg chg="mod ord modVis replST">
          <ac:chgData name="Daniel Esteban Ortiz Carvajal" userId="c61208ed-cfc9-41db-b98e-8ca1e81cbf8a" providerId="ADAL" clId="{460B01F5-D0D7-4F46-BDC5-EE5905768D06}" dt="2022-08-09T19:52:19.776" v="8130" actId="1076"/>
          <ac:graphicFrameMkLst>
            <pc:docMk/>
            <pc:sldMk cId="1097591164" sldId="311"/>
            <ac:graphicFrameMk id="2" creationId="{4EBD7BF8-91EF-4E9B-9E5F-3E772D7549EB}"/>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191135025" sldId="312"/>
        </pc:sldMkLst>
        <pc:spChg chg="mod">
          <ac:chgData name="Daniel Esteban Ortiz Carvajal" userId="c61208ed-cfc9-41db-b98e-8ca1e81cbf8a" providerId="ADAL" clId="{460B01F5-D0D7-4F46-BDC5-EE5905768D06}" dt="2022-08-09T19:52:13.686" v="6240" actId="947"/>
          <ac:spMkLst>
            <pc:docMk/>
            <pc:sldMk cId="2191135025" sldId="312"/>
            <ac:spMk id="3" creationId="{B005B9B4-AAD3-492F-A3E1-8B76F3F0D655}"/>
          </ac:spMkLst>
        </pc:spChg>
        <pc:spChg chg="mod">
          <ac:chgData name="Daniel Esteban Ortiz Carvajal" userId="c61208ed-cfc9-41db-b98e-8ca1e81cbf8a" providerId="ADAL" clId="{460B01F5-D0D7-4F46-BDC5-EE5905768D06}" dt="2022-08-09T19:52:13.690" v="6242" actId="947"/>
          <ac:spMkLst>
            <pc:docMk/>
            <pc:sldMk cId="2191135025" sldId="312"/>
            <ac:spMk id="4" creationId="{E84B06EE-851C-42F3-ADCD-FFFF26B8B28E}"/>
          </ac:spMkLst>
        </pc:spChg>
        <pc:spChg chg="mod">
          <ac:chgData name="Daniel Esteban Ortiz Carvajal" userId="c61208ed-cfc9-41db-b98e-8ca1e81cbf8a" providerId="ADAL" clId="{460B01F5-D0D7-4F46-BDC5-EE5905768D06}" dt="2022-08-09T19:52:13.695" v="6246" actId="20577"/>
          <ac:spMkLst>
            <pc:docMk/>
            <pc:sldMk cId="2191135025" sldId="312"/>
            <ac:spMk id="9" creationId="{61A9279A-F430-4D2C-B0D1-F8D5B5B39CF3}"/>
          </ac:spMkLst>
        </pc:spChg>
        <pc:spChg chg="mod">
          <ac:chgData name="Daniel Esteban Ortiz Carvajal" userId="c61208ed-cfc9-41db-b98e-8ca1e81cbf8a" providerId="ADAL" clId="{460B01F5-D0D7-4F46-BDC5-EE5905768D06}" dt="2022-08-09T19:52:13.706" v="6248" actId="947"/>
          <ac:spMkLst>
            <pc:docMk/>
            <pc:sldMk cId="2191135025" sldId="312"/>
            <ac:spMk id="10" creationId="{A072E3C7-399F-4811-BB36-031EBD5A922D}"/>
          </ac:spMkLst>
        </pc:spChg>
        <pc:graphicFrameChg chg="mod ord modVis replST">
          <ac:chgData name="Daniel Esteban Ortiz Carvajal" userId="c61208ed-cfc9-41db-b98e-8ca1e81cbf8a" providerId="ADAL" clId="{460B01F5-D0D7-4F46-BDC5-EE5905768D06}" dt="2022-08-09T19:52:19.696" v="8114" actId="1076"/>
          <ac:graphicFrameMkLst>
            <pc:docMk/>
            <pc:sldMk cId="2191135025" sldId="312"/>
            <ac:graphicFrameMk id="2" creationId="{C24AF089-4613-4B1D-9459-711293B3358C}"/>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838159938" sldId="313"/>
        </pc:sldMkLst>
        <pc:spChg chg="mod">
          <ac:chgData name="Daniel Esteban Ortiz Carvajal" userId="c61208ed-cfc9-41db-b98e-8ca1e81cbf8a" providerId="ADAL" clId="{460B01F5-D0D7-4F46-BDC5-EE5905768D06}" dt="2022-08-09T19:52:13.711" v="6250" actId="947"/>
          <ac:spMkLst>
            <pc:docMk/>
            <pc:sldMk cId="838159938" sldId="313"/>
            <ac:spMk id="3" creationId="{B005B9B4-AAD3-492F-A3E1-8B76F3F0D655}"/>
          </ac:spMkLst>
        </pc:spChg>
        <pc:spChg chg="mod">
          <ac:chgData name="Daniel Esteban Ortiz Carvajal" userId="c61208ed-cfc9-41db-b98e-8ca1e81cbf8a" providerId="ADAL" clId="{460B01F5-D0D7-4F46-BDC5-EE5905768D06}" dt="2022-08-09T19:52:13.715" v="6252" actId="947"/>
          <ac:spMkLst>
            <pc:docMk/>
            <pc:sldMk cId="838159938" sldId="313"/>
            <ac:spMk id="4" creationId="{E84B06EE-851C-42F3-ADCD-FFFF26B8B28E}"/>
          </ac:spMkLst>
        </pc:spChg>
        <pc:spChg chg="mod">
          <ac:chgData name="Daniel Esteban Ortiz Carvajal" userId="c61208ed-cfc9-41db-b98e-8ca1e81cbf8a" providerId="ADAL" clId="{460B01F5-D0D7-4F46-BDC5-EE5905768D06}" dt="2022-08-09T19:52:13.726" v="6256" actId="20577"/>
          <ac:spMkLst>
            <pc:docMk/>
            <pc:sldMk cId="838159938" sldId="313"/>
            <ac:spMk id="5" creationId="{C532156B-39EB-4475-B403-1A1E91330859}"/>
          </ac:spMkLst>
        </pc:spChg>
        <pc:spChg chg="mod">
          <ac:chgData name="Daniel Esteban Ortiz Carvajal" userId="c61208ed-cfc9-41db-b98e-8ca1e81cbf8a" providerId="ADAL" clId="{460B01F5-D0D7-4F46-BDC5-EE5905768D06}" dt="2022-08-09T19:52:13.726" v="6258" actId="947"/>
          <ac:spMkLst>
            <pc:docMk/>
            <pc:sldMk cId="838159938" sldId="313"/>
            <ac:spMk id="7" creationId="{5C46A887-E879-4E55-A90F-535B6911B904}"/>
          </ac:spMkLst>
        </pc:spChg>
        <pc:graphicFrameChg chg="mod ord modVis replST">
          <ac:chgData name="Daniel Esteban Ortiz Carvajal" userId="c61208ed-cfc9-41db-b98e-8ca1e81cbf8a" providerId="ADAL" clId="{460B01F5-D0D7-4F46-BDC5-EE5905768D06}" dt="2022-08-09T19:52:19.656" v="8106" actId="1076"/>
          <ac:graphicFrameMkLst>
            <pc:docMk/>
            <pc:sldMk cId="838159938" sldId="313"/>
            <ac:graphicFrameMk id="2" creationId="{9C0090A0-AC53-45A0-92EF-246045C37EDB}"/>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899093767" sldId="314"/>
        </pc:sldMkLst>
        <pc:spChg chg="mod">
          <ac:chgData name="Daniel Esteban Ortiz Carvajal" userId="c61208ed-cfc9-41db-b98e-8ca1e81cbf8a" providerId="ADAL" clId="{460B01F5-D0D7-4F46-BDC5-EE5905768D06}" dt="2022-08-09T19:52:13.646" v="6222" actId="947"/>
          <ac:spMkLst>
            <pc:docMk/>
            <pc:sldMk cId="1899093767" sldId="314"/>
            <ac:spMk id="3" creationId="{B005B9B4-AAD3-492F-A3E1-8B76F3F0D655}"/>
          </ac:spMkLst>
        </pc:spChg>
        <pc:spChg chg="mod">
          <ac:chgData name="Daniel Esteban Ortiz Carvajal" userId="c61208ed-cfc9-41db-b98e-8ca1e81cbf8a" providerId="ADAL" clId="{460B01F5-D0D7-4F46-BDC5-EE5905768D06}" dt="2022-08-09T19:52:13.646" v="6224" actId="947"/>
          <ac:spMkLst>
            <pc:docMk/>
            <pc:sldMk cId="1899093767" sldId="314"/>
            <ac:spMk id="4" creationId="{E84B06EE-851C-42F3-ADCD-FFFF26B8B28E}"/>
          </ac:spMkLst>
        </pc:spChg>
        <pc:spChg chg="mod">
          <ac:chgData name="Daniel Esteban Ortiz Carvajal" userId="c61208ed-cfc9-41db-b98e-8ca1e81cbf8a" providerId="ADAL" clId="{460B01F5-D0D7-4F46-BDC5-EE5905768D06}" dt="2022-08-09T19:52:13.655" v="6228" actId="20577"/>
          <ac:spMkLst>
            <pc:docMk/>
            <pc:sldMk cId="1899093767" sldId="314"/>
            <ac:spMk id="7" creationId="{5C531E1B-90A7-45FD-B545-428CB7CC3ADC}"/>
          </ac:spMkLst>
        </pc:spChg>
        <pc:spChg chg="mod">
          <ac:chgData name="Daniel Esteban Ortiz Carvajal" userId="c61208ed-cfc9-41db-b98e-8ca1e81cbf8a" providerId="ADAL" clId="{460B01F5-D0D7-4F46-BDC5-EE5905768D06}" dt="2022-08-09T19:52:13.655" v="6230" actId="947"/>
          <ac:spMkLst>
            <pc:docMk/>
            <pc:sldMk cId="1899093767" sldId="314"/>
            <ac:spMk id="8" creationId="{CFFD3043-F9B3-4296-85B2-6B4CB5F5CFAE}"/>
          </ac:spMkLst>
        </pc:spChg>
        <pc:graphicFrameChg chg="mod ord modVis replST">
          <ac:chgData name="Daniel Esteban Ortiz Carvajal" userId="c61208ed-cfc9-41db-b98e-8ca1e81cbf8a" providerId="ADAL" clId="{460B01F5-D0D7-4F46-BDC5-EE5905768D06}" dt="2022-08-09T19:52:19.496" v="8073" actId="1076"/>
          <ac:graphicFrameMkLst>
            <pc:docMk/>
            <pc:sldMk cId="1899093767" sldId="314"/>
            <ac:graphicFrameMk id="2" creationId="{EEC02BF7-6670-461F-AB7E-1C5475DE7D21}"/>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2571033373" sldId="315"/>
        </pc:sldMkLst>
        <pc:spChg chg="mod">
          <ac:chgData name="Daniel Esteban Ortiz Carvajal" userId="c61208ed-cfc9-41db-b98e-8ca1e81cbf8a" providerId="ADAL" clId="{460B01F5-D0D7-4F46-BDC5-EE5905768D06}" dt="2022-08-09T19:52:13.735" v="6260" actId="947"/>
          <ac:spMkLst>
            <pc:docMk/>
            <pc:sldMk cId="2571033373" sldId="315"/>
            <ac:spMk id="3" creationId="{B005B9B4-AAD3-492F-A3E1-8B76F3F0D655}"/>
          </ac:spMkLst>
        </pc:spChg>
        <pc:spChg chg="mod">
          <ac:chgData name="Daniel Esteban Ortiz Carvajal" userId="c61208ed-cfc9-41db-b98e-8ca1e81cbf8a" providerId="ADAL" clId="{460B01F5-D0D7-4F46-BDC5-EE5905768D06}" dt="2022-08-09T19:52:13.735" v="6262" actId="947"/>
          <ac:spMkLst>
            <pc:docMk/>
            <pc:sldMk cId="2571033373" sldId="315"/>
            <ac:spMk id="4" creationId="{E84B06EE-851C-42F3-ADCD-FFFF26B8B28E}"/>
          </ac:spMkLst>
        </pc:spChg>
        <pc:spChg chg="mod">
          <ac:chgData name="Daniel Esteban Ortiz Carvajal" userId="c61208ed-cfc9-41db-b98e-8ca1e81cbf8a" providerId="ADAL" clId="{460B01F5-D0D7-4F46-BDC5-EE5905768D06}" dt="2022-08-09T19:52:13.745" v="6266" actId="20577"/>
          <ac:spMkLst>
            <pc:docMk/>
            <pc:sldMk cId="2571033373" sldId="315"/>
            <ac:spMk id="8" creationId="{A6346BEB-91DA-4D91-AEEE-0B583F2EC0F8}"/>
          </ac:spMkLst>
        </pc:spChg>
        <pc:spChg chg="mod">
          <ac:chgData name="Daniel Esteban Ortiz Carvajal" userId="c61208ed-cfc9-41db-b98e-8ca1e81cbf8a" providerId="ADAL" clId="{460B01F5-D0D7-4F46-BDC5-EE5905768D06}" dt="2022-08-09T19:52:13.750" v="6268" actId="947"/>
          <ac:spMkLst>
            <pc:docMk/>
            <pc:sldMk cId="2571033373" sldId="315"/>
            <ac:spMk id="9" creationId="{46913774-8110-4905-9C74-AC4138D65ACA}"/>
          </ac:spMkLst>
        </pc:spChg>
        <pc:graphicFrameChg chg="mod ord modVis replST">
          <ac:chgData name="Daniel Esteban Ortiz Carvajal" userId="c61208ed-cfc9-41db-b98e-8ca1e81cbf8a" providerId="ADAL" clId="{460B01F5-D0D7-4F46-BDC5-EE5905768D06}" dt="2022-08-09T19:52:19.726" v="8122" actId="1076"/>
          <ac:graphicFrameMkLst>
            <pc:docMk/>
            <pc:sldMk cId="2571033373" sldId="315"/>
            <ac:graphicFrameMk id="2" creationId="{DD7A3C75-8BCC-41C6-8338-107E5880F688}"/>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086073775" sldId="316"/>
        </pc:sldMkLst>
        <pc:spChg chg="mod">
          <ac:chgData name="Daniel Esteban Ortiz Carvajal" userId="c61208ed-cfc9-41db-b98e-8ca1e81cbf8a" providerId="ADAL" clId="{460B01F5-D0D7-4F46-BDC5-EE5905768D06}" dt="2022-08-09T19:52:13.755" v="6270" actId="947"/>
          <ac:spMkLst>
            <pc:docMk/>
            <pc:sldMk cId="1086073775" sldId="316"/>
            <ac:spMk id="3" creationId="{B005B9B4-AAD3-492F-A3E1-8B76F3F0D655}"/>
          </ac:spMkLst>
        </pc:spChg>
        <pc:spChg chg="mod">
          <ac:chgData name="Daniel Esteban Ortiz Carvajal" userId="c61208ed-cfc9-41db-b98e-8ca1e81cbf8a" providerId="ADAL" clId="{460B01F5-D0D7-4F46-BDC5-EE5905768D06}" dt="2022-08-09T19:52:13.760" v="6272" actId="947"/>
          <ac:spMkLst>
            <pc:docMk/>
            <pc:sldMk cId="1086073775" sldId="316"/>
            <ac:spMk id="4" creationId="{E84B06EE-851C-42F3-ADCD-FFFF26B8B28E}"/>
          </ac:spMkLst>
        </pc:spChg>
        <pc:spChg chg="mod">
          <ac:chgData name="Daniel Esteban Ortiz Carvajal" userId="c61208ed-cfc9-41db-b98e-8ca1e81cbf8a" providerId="ADAL" clId="{460B01F5-D0D7-4F46-BDC5-EE5905768D06}" dt="2022-08-09T19:52:13.766" v="6276" actId="20577"/>
          <ac:spMkLst>
            <pc:docMk/>
            <pc:sldMk cId="1086073775" sldId="316"/>
            <ac:spMk id="10" creationId="{E7DC77DD-29F1-403E-B751-D409744D9DA1}"/>
          </ac:spMkLst>
        </pc:spChg>
        <pc:spChg chg="mod">
          <ac:chgData name="Daniel Esteban Ortiz Carvajal" userId="c61208ed-cfc9-41db-b98e-8ca1e81cbf8a" providerId="ADAL" clId="{460B01F5-D0D7-4F46-BDC5-EE5905768D06}" dt="2022-08-09T19:52:13.775" v="6278" actId="947"/>
          <ac:spMkLst>
            <pc:docMk/>
            <pc:sldMk cId="1086073775" sldId="316"/>
            <ac:spMk id="11" creationId="{924CC85F-4AFE-46E2-A280-8E1A3C4729C2}"/>
          </ac:spMkLst>
        </pc:spChg>
        <pc:graphicFrameChg chg="mod ord modVis replST">
          <ac:chgData name="Daniel Esteban Ortiz Carvajal" userId="c61208ed-cfc9-41db-b98e-8ca1e81cbf8a" providerId="ADAL" clId="{460B01F5-D0D7-4F46-BDC5-EE5905768D06}" dt="2022-08-09T19:52:20.071" v="8186" actId="1076"/>
          <ac:graphicFrameMkLst>
            <pc:docMk/>
            <pc:sldMk cId="1086073775" sldId="316"/>
            <ac:graphicFrameMk id="2" creationId="{119A01B4-047C-4D23-AAFB-6970DF87A195}"/>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4067911056" sldId="317"/>
        </pc:sldMkLst>
        <pc:spChg chg="mod">
          <ac:chgData name="Daniel Esteban Ortiz Carvajal" userId="c61208ed-cfc9-41db-b98e-8ca1e81cbf8a" providerId="ADAL" clId="{460B01F5-D0D7-4F46-BDC5-EE5905768D06}" dt="2022-08-09T19:52:13.775" v="6280" actId="947"/>
          <ac:spMkLst>
            <pc:docMk/>
            <pc:sldMk cId="4067911056" sldId="317"/>
            <ac:spMk id="3" creationId="{B005B9B4-AAD3-492F-A3E1-8B76F3F0D655}"/>
          </ac:spMkLst>
        </pc:spChg>
        <pc:spChg chg="mod">
          <ac:chgData name="Daniel Esteban Ortiz Carvajal" userId="c61208ed-cfc9-41db-b98e-8ca1e81cbf8a" providerId="ADAL" clId="{460B01F5-D0D7-4F46-BDC5-EE5905768D06}" dt="2022-08-09T19:52:13.786" v="6282" actId="947"/>
          <ac:spMkLst>
            <pc:docMk/>
            <pc:sldMk cId="4067911056" sldId="317"/>
            <ac:spMk id="4" creationId="{E84B06EE-851C-42F3-ADCD-FFFF26B8B28E}"/>
          </ac:spMkLst>
        </pc:spChg>
        <pc:spChg chg="mod">
          <ac:chgData name="Daniel Esteban Ortiz Carvajal" userId="c61208ed-cfc9-41db-b98e-8ca1e81cbf8a" providerId="ADAL" clId="{460B01F5-D0D7-4F46-BDC5-EE5905768D06}" dt="2022-08-09T19:52:13.796" v="6286" actId="20577"/>
          <ac:spMkLst>
            <pc:docMk/>
            <pc:sldMk cId="4067911056" sldId="317"/>
            <ac:spMk id="8" creationId="{0684246F-734B-407D-A724-0ECE4AEB1168}"/>
          </ac:spMkLst>
        </pc:spChg>
        <pc:spChg chg="mod">
          <ac:chgData name="Daniel Esteban Ortiz Carvajal" userId="c61208ed-cfc9-41db-b98e-8ca1e81cbf8a" providerId="ADAL" clId="{460B01F5-D0D7-4F46-BDC5-EE5905768D06}" dt="2022-08-09T19:52:13.796" v="6288" actId="947"/>
          <ac:spMkLst>
            <pc:docMk/>
            <pc:sldMk cId="4067911056" sldId="317"/>
            <ac:spMk id="11" creationId="{E90EC4AA-C442-4026-BF9F-8E2017E58A01}"/>
          </ac:spMkLst>
        </pc:spChg>
        <pc:graphicFrameChg chg="mod ord modVis replST">
          <ac:chgData name="Daniel Esteban Ortiz Carvajal" userId="c61208ed-cfc9-41db-b98e-8ca1e81cbf8a" providerId="ADAL" clId="{460B01F5-D0D7-4F46-BDC5-EE5905768D06}" dt="2022-08-09T19:52:20.110" v="8194" actId="1076"/>
          <ac:graphicFrameMkLst>
            <pc:docMk/>
            <pc:sldMk cId="4067911056" sldId="317"/>
            <ac:graphicFrameMk id="2" creationId="{E9908187-BA16-4B48-ACEF-8ED79B0B9014}"/>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245165748" sldId="318"/>
        </pc:sldMkLst>
        <pc:spChg chg="mod">
          <ac:chgData name="Daniel Esteban Ortiz Carvajal" userId="c61208ed-cfc9-41db-b98e-8ca1e81cbf8a" providerId="ADAL" clId="{460B01F5-D0D7-4F46-BDC5-EE5905768D06}" dt="2022-08-09T19:52:13.796" v="6290" actId="947"/>
          <ac:spMkLst>
            <pc:docMk/>
            <pc:sldMk cId="3245165748" sldId="318"/>
            <ac:spMk id="3" creationId="{B005B9B4-AAD3-492F-A3E1-8B76F3F0D655}"/>
          </ac:spMkLst>
        </pc:spChg>
        <pc:spChg chg="mod">
          <ac:chgData name="Daniel Esteban Ortiz Carvajal" userId="c61208ed-cfc9-41db-b98e-8ca1e81cbf8a" providerId="ADAL" clId="{460B01F5-D0D7-4F46-BDC5-EE5905768D06}" dt="2022-08-09T19:52:13.811" v="6292" actId="947"/>
          <ac:spMkLst>
            <pc:docMk/>
            <pc:sldMk cId="3245165748" sldId="318"/>
            <ac:spMk id="4" creationId="{E84B06EE-851C-42F3-ADCD-FFFF26B8B28E}"/>
          </ac:spMkLst>
        </pc:spChg>
        <pc:spChg chg="mod">
          <ac:chgData name="Daniel Esteban Ortiz Carvajal" userId="c61208ed-cfc9-41db-b98e-8ca1e81cbf8a" providerId="ADAL" clId="{460B01F5-D0D7-4F46-BDC5-EE5905768D06}" dt="2022-08-09T19:52:13.820" v="6298" actId="947"/>
          <ac:spMkLst>
            <pc:docMk/>
            <pc:sldMk cId="3245165748" sldId="318"/>
            <ac:spMk id="7" creationId="{A96F11D5-3A90-4015-83FC-7BA8A9475565}"/>
          </ac:spMkLst>
        </pc:spChg>
        <pc:spChg chg="mod">
          <ac:chgData name="Daniel Esteban Ortiz Carvajal" userId="c61208ed-cfc9-41db-b98e-8ca1e81cbf8a" providerId="ADAL" clId="{460B01F5-D0D7-4F46-BDC5-EE5905768D06}" dt="2022-08-09T19:52:13.815" v="6296" actId="20577"/>
          <ac:spMkLst>
            <pc:docMk/>
            <pc:sldMk cId="3245165748" sldId="318"/>
            <ac:spMk id="8" creationId="{0684246F-734B-407D-A724-0ECE4AEB1168}"/>
          </ac:spMkLst>
        </pc:spChg>
        <pc:graphicFrameChg chg="mod ord modVis replST">
          <ac:chgData name="Daniel Esteban Ortiz Carvajal" userId="c61208ed-cfc9-41db-b98e-8ca1e81cbf8a" providerId="ADAL" clId="{460B01F5-D0D7-4F46-BDC5-EE5905768D06}" dt="2022-08-09T19:52:20.026" v="8178" actId="1076"/>
          <ac:graphicFrameMkLst>
            <pc:docMk/>
            <pc:sldMk cId="3245165748" sldId="318"/>
            <ac:graphicFrameMk id="2" creationId="{D150EF9C-7FA8-4570-BB12-8361622EFE30}"/>
          </ac:graphicFrameMkLst>
        </pc:graphicFrameChg>
      </pc:sldChg>
      <pc:sldChg chg="del">
        <pc:chgData name="Daniel Esteban Ortiz Carvajal" userId="c61208ed-cfc9-41db-b98e-8ca1e81cbf8a" providerId="ADAL" clId="{460B01F5-D0D7-4F46-BDC5-EE5905768D06}" dt="2022-08-09T19:47:57.332" v="350" actId="47"/>
        <pc:sldMkLst>
          <pc:docMk/>
          <pc:sldMk cId="684341416" sldId="319"/>
        </pc:sldMkLst>
      </pc:sldChg>
      <pc:sldChg chg="modSp del mod modNotes">
        <pc:chgData name="Daniel Esteban Ortiz Carvajal" userId="c61208ed-cfc9-41db-b98e-8ca1e81cbf8a" providerId="ADAL" clId="{460B01F5-D0D7-4F46-BDC5-EE5905768D06}" dt="2022-08-09T23:01:30.037" v="10521" actId="47"/>
        <pc:sldMkLst>
          <pc:docMk/>
          <pc:sldMk cId="3553521572" sldId="321"/>
        </pc:sldMkLst>
        <pc:spChg chg="mod">
          <ac:chgData name="Daniel Esteban Ortiz Carvajal" userId="c61208ed-cfc9-41db-b98e-8ca1e81cbf8a" providerId="ADAL" clId="{460B01F5-D0D7-4F46-BDC5-EE5905768D06}" dt="2022-08-09T19:52:14.576" v="6608" actId="20577"/>
          <ac:spMkLst>
            <pc:docMk/>
            <pc:sldMk cId="3553521572" sldId="321"/>
            <ac:spMk id="3" creationId="{EF5E42A9-FE9B-4F9B-817A-F41628599774}"/>
          </ac:spMkLst>
        </pc:spChg>
        <pc:spChg chg="mod">
          <ac:chgData name="Daniel Esteban Ortiz Carvajal" userId="c61208ed-cfc9-41db-b98e-8ca1e81cbf8a" providerId="ADAL" clId="{460B01F5-D0D7-4F46-BDC5-EE5905768D06}" dt="2022-08-09T19:52:14.576" v="6610" actId="947"/>
          <ac:spMkLst>
            <pc:docMk/>
            <pc:sldMk cId="3553521572" sldId="321"/>
            <ac:spMk id="4" creationId="{1D06EEA5-DE37-44A9-8FA9-CDD3C802D996}"/>
          </ac:spMkLst>
        </pc:spChg>
        <pc:spChg chg="mod">
          <ac:chgData name="Daniel Esteban Ortiz Carvajal" userId="c61208ed-cfc9-41db-b98e-8ca1e81cbf8a" providerId="ADAL" clId="{460B01F5-D0D7-4F46-BDC5-EE5905768D06}" dt="2022-08-09T19:52:14.586" v="6612" actId="947"/>
          <ac:spMkLst>
            <pc:docMk/>
            <pc:sldMk cId="3553521572" sldId="321"/>
            <ac:spMk id="9" creationId="{B0AC231E-24D0-47D9-A346-13D09D845293}"/>
          </ac:spMkLst>
        </pc:spChg>
        <pc:spChg chg="mod">
          <ac:chgData name="Daniel Esteban Ortiz Carvajal" userId="c61208ed-cfc9-41db-b98e-8ca1e81cbf8a" providerId="ADAL" clId="{460B01F5-D0D7-4F46-BDC5-EE5905768D06}" dt="2022-08-09T19:52:14.591" v="6614" actId="947"/>
          <ac:spMkLst>
            <pc:docMk/>
            <pc:sldMk cId="3553521572" sldId="321"/>
            <ac:spMk id="21" creationId="{4FFDF237-10AC-4031-897D-77035F918CA0}"/>
          </ac:spMkLst>
        </pc:spChg>
        <pc:graphicFrameChg chg="mod ord modVis replST">
          <ac:chgData name="Daniel Esteban Ortiz Carvajal" userId="c61208ed-cfc9-41db-b98e-8ca1e81cbf8a" providerId="ADAL" clId="{460B01F5-D0D7-4F46-BDC5-EE5905768D06}" dt="2022-08-09T19:52:19.256" v="8024" actId="1076"/>
          <ac:graphicFrameMkLst>
            <pc:docMk/>
            <pc:sldMk cId="3553521572" sldId="321"/>
            <ac:graphicFrameMk id="2" creationId="{CEA00964-9E27-4F1F-8253-28456CC955D5}"/>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500581347" sldId="322"/>
        </pc:sldMkLst>
        <pc:spChg chg="mod">
          <ac:chgData name="Daniel Esteban Ortiz Carvajal" userId="c61208ed-cfc9-41db-b98e-8ca1e81cbf8a" providerId="ADAL" clId="{460B01F5-D0D7-4F46-BDC5-EE5905768D06}" dt="2022-08-09T19:52:14.596" v="6616" actId="947"/>
          <ac:spMkLst>
            <pc:docMk/>
            <pc:sldMk cId="500581347" sldId="322"/>
            <ac:spMk id="2" creationId="{C274B575-B31C-415F-AF62-A305A7D4E415}"/>
          </ac:spMkLst>
        </pc:spChg>
        <pc:spChg chg="mod">
          <ac:chgData name="Daniel Esteban Ortiz Carvajal" userId="c61208ed-cfc9-41db-b98e-8ca1e81cbf8a" providerId="ADAL" clId="{460B01F5-D0D7-4F46-BDC5-EE5905768D06}" dt="2022-08-09T19:52:14.606" v="6622" actId="947"/>
          <ac:spMkLst>
            <pc:docMk/>
            <pc:sldMk cId="500581347" sldId="322"/>
            <ac:spMk id="7" creationId="{E92AC71E-8ED0-4788-A87B-EBCF532B3661}"/>
          </ac:spMkLst>
        </pc:spChg>
        <pc:spChg chg="mod">
          <ac:chgData name="Daniel Esteban Ortiz Carvajal" userId="c61208ed-cfc9-41db-b98e-8ca1e81cbf8a" providerId="ADAL" clId="{460B01F5-D0D7-4F46-BDC5-EE5905768D06}" dt="2022-08-09T19:52:14.606" v="6620" actId="20577"/>
          <ac:spMkLst>
            <pc:docMk/>
            <pc:sldMk cId="500581347" sldId="322"/>
            <ac:spMk id="9" creationId="{B75DBDDE-9615-4777-B224-B11AE13A50E9}"/>
          </ac:spMkLst>
        </pc:spChg>
        <pc:graphicFrameChg chg="mod ord modVis replST">
          <ac:chgData name="Daniel Esteban Ortiz Carvajal" userId="c61208ed-cfc9-41db-b98e-8ca1e81cbf8a" providerId="ADAL" clId="{460B01F5-D0D7-4F46-BDC5-EE5905768D06}" dt="2022-08-09T19:52:19.296" v="8032" actId="1076"/>
          <ac:graphicFrameMkLst>
            <pc:docMk/>
            <pc:sldMk cId="500581347" sldId="322"/>
            <ac:graphicFrameMk id="3" creationId="{6F9596B2-1203-458F-BD5A-A997DAB92EBF}"/>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754221481" sldId="323"/>
        </pc:sldMkLst>
        <pc:spChg chg="mod">
          <ac:chgData name="Daniel Esteban Ortiz Carvajal" userId="c61208ed-cfc9-41db-b98e-8ca1e81cbf8a" providerId="ADAL" clId="{460B01F5-D0D7-4F46-BDC5-EE5905768D06}" dt="2022-08-09T19:52:13.825" v="6302" actId="20577"/>
          <ac:spMkLst>
            <pc:docMk/>
            <pc:sldMk cId="3754221481" sldId="323"/>
            <ac:spMk id="2" creationId="{5E621C5A-D0A4-469A-A3FB-196C77346554}"/>
          </ac:spMkLst>
        </pc:spChg>
        <pc:graphicFrameChg chg="mod ord modVis replST">
          <ac:chgData name="Daniel Esteban Ortiz Carvajal" userId="c61208ed-cfc9-41db-b98e-8ca1e81cbf8a" providerId="ADAL" clId="{460B01F5-D0D7-4F46-BDC5-EE5905768D06}" dt="2022-08-09T19:52:19.816" v="8138" actId="1076"/>
          <ac:graphicFrameMkLst>
            <pc:docMk/>
            <pc:sldMk cId="3754221481" sldId="323"/>
            <ac:graphicFrameMk id="3" creationId="{9F939B8C-646A-4249-B97C-383A801CF11B}"/>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316577768" sldId="324"/>
        </pc:sldMkLst>
        <pc:spChg chg="mod">
          <ac:chgData name="Daniel Esteban Ortiz Carvajal" userId="c61208ed-cfc9-41db-b98e-8ca1e81cbf8a" providerId="ADAL" clId="{460B01F5-D0D7-4F46-BDC5-EE5905768D06}" dt="2022-08-09T19:52:14.115" v="6422" actId="947"/>
          <ac:spMkLst>
            <pc:docMk/>
            <pc:sldMk cId="1316577768" sldId="324"/>
            <ac:spMk id="2" creationId="{C274B575-B31C-415F-AF62-A305A7D4E415}"/>
          </ac:spMkLst>
        </pc:spChg>
        <pc:spChg chg="mod">
          <ac:chgData name="Daniel Esteban Ortiz Carvajal" userId="c61208ed-cfc9-41db-b98e-8ca1e81cbf8a" providerId="ADAL" clId="{460B01F5-D0D7-4F46-BDC5-EE5905768D06}" dt="2022-08-09T19:52:14.115" v="6424" actId="947"/>
          <ac:spMkLst>
            <pc:docMk/>
            <pc:sldMk cId="1316577768" sldId="324"/>
            <ac:spMk id="3" creationId="{9F907A29-1784-4E0C-A8FE-033C7E24E547}"/>
          </ac:spMkLst>
        </pc:spChg>
        <pc:spChg chg="mod">
          <ac:chgData name="Daniel Esteban Ortiz Carvajal" userId="c61208ed-cfc9-41db-b98e-8ca1e81cbf8a" providerId="ADAL" clId="{460B01F5-D0D7-4F46-BDC5-EE5905768D06}" dt="2022-08-09T19:52:14.126" v="6426" actId="947"/>
          <ac:spMkLst>
            <pc:docMk/>
            <pc:sldMk cId="1316577768" sldId="324"/>
            <ac:spMk id="8" creationId="{07804250-1AA3-4E79-9F49-C93E0293F968}"/>
          </ac:spMkLst>
        </pc:spChg>
        <pc:spChg chg="mod">
          <ac:chgData name="Daniel Esteban Ortiz Carvajal" userId="c61208ed-cfc9-41db-b98e-8ca1e81cbf8a" providerId="ADAL" clId="{460B01F5-D0D7-4F46-BDC5-EE5905768D06}" dt="2022-08-09T19:52:14.135" v="6430" actId="20577"/>
          <ac:spMkLst>
            <pc:docMk/>
            <pc:sldMk cId="1316577768" sldId="324"/>
            <ac:spMk id="10" creationId="{95A8A92B-D1CA-43E8-BC6E-CBF25EB06C6E}"/>
          </ac:spMkLst>
        </pc:spChg>
        <pc:graphicFrameChg chg="mod ord modVis replST">
          <ac:chgData name="Daniel Esteban Ortiz Carvajal" userId="c61208ed-cfc9-41db-b98e-8ca1e81cbf8a" providerId="ADAL" clId="{460B01F5-D0D7-4F46-BDC5-EE5905768D06}" dt="2022-08-09T19:52:20.511" v="8274" actId="1076"/>
          <ac:graphicFrameMkLst>
            <pc:docMk/>
            <pc:sldMk cId="1316577768" sldId="324"/>
            <ac:graphicFrameMk id="4" creationId="{E6DF5E53-B739-4306-B4B2-B10509EB4363}"/>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3524673329" sldId="325"/>
        </pc:sldMkLst>
        <pc:spChg chg="mod">
          <ac:chgData name="Daniel Esteban Ortiz Carvajal" userId="c61208ed-cfc9-41db-b98e-8ca1e81cbf8a" providerId="ADAL" clId="{460B01F5-D0D7-4F46-BDC5-EE5905768D06}" dt="2022-08-09T19:52:14.370" v="6524" actId="947"/>
          <ac:spMkLst>
            <pc:docMk/>
            <pc:sldMk cId="3524673329" sldId="325"/>
            <ac:spMk id="2" creationId="{C274B575-B31C-415F-AF62-A305A7D4E415}"/>
          </ac:spMkLst>
        </pc:spChg>
        <pc:spChg chg="mod">
          <ac:chgData name="Daniel Esteban Ortiz Carvajal" userId="c61208ed-cfc9-41db-b98e-8ca1e81cbf8a" providerId="ADAL" clId="{460B01F5-D0D7-4F46-BDC5-EE5905768D06}" dt="2022-08-09T19:52:14.376" v="6526" actId="947"/>
          <ac:spMkLst>
            <pc:docMk/>
            <pc:sldMk cId="3524673329" sldId="325"/>
            <ac:spMk id="3" creationId="{9F907A29-1784-4E0C-A8FE-033C7E24E547}"/>
          </ac:spMkLst>
        </pc:spChg>
        <pc:spChg chg="mod">
          <ac:chgData name="Daniel Esteban Ortiz Carvajal" userId="c61208ed-cfc9-41db-b98e-8ca1e81cbf8a" providerId="ADAL" clId="{460B01F5-D0D7-4F46-BDC5-EE5905768D06}" dt="2022-08-09T19:52:14.385" v="6530" actId="20577"/>
          <ac:spMkLst>
            <pc:docMk/>
            <pc:sldMk cId="3524673329" sldId="325"/>
            <ac:spMk id="7" creationId="{4B8B8DE7-F2CC-49EB-8A2C-6AA7B5512479}"/>
          </ac:spMkLst>
        </pc:spChg>
        <pc:spChg chg="mod">
          <ac:chgData name="Daniel Esteban Ortiz Carvajal" userId="c61208ed-cfc9-41db-b98e-8ca1e81cbf8a" providerId="ADAL" clId="{460B01F5-D0D7-4F46-BDC5-EE5905768D06}" dt="2022-08-09T19:52:14.385" v="6532" actId="947"/>
          <ac:spMkLst>
            <pc:docMk/>
            <pc:sldMk cId="3524673329" sldId="325"/>
            <ac:spMk id="8" creationId="{27DA070B-C70F-448F-A72B-6973A6FFD50C}"/>
          </ac:spMkLst>
        </pc:spChg>
        <pc:spChg chg="mod">
          <ac:chgData name="Daniel Esteban Ortiz Carvajal" userId="c61208ed-cfc9-41db-b98e-8ca1e81cbf8a" providerId="ADAL" clId="{460B01F5-D0D7-4F46-BDC5-EE5905768D06}" dt="2022-08-09T19:52:14.396" v="6536" actId="20577"/>
          <ac:spMkLst>
            <pc:docMk/>
            <pc:sldMk cId="3524673329" sldId="325"/>
            <ac:spMk id="10" creationId="{EFAC2397-FF47-4245-9DBC-D5F5676DCFA4}"/>
          </ac:spMkLst>
        </pc:spChg>
        <pc:graphicFrameChg chg="mod ord modVis replST">
          <ac:chgData name="Daniel Esteban Ortiz Carvajal" userId="c61208ed-cfc9-41db-b98e-8ca1e81cbf8a" providerId="ADAL" clId="{460B01F5-D0D7-4F46-BDC5-EE5905768D06}" dt="2022-08-09T19:52:18.926" v="7960" actId="1076"/>
          <ac:graphicFrameMkLst>
            <pc:docMk/>
            <pc:sldMk cId="3524673329" sldId="325"/>
            <ac:graphicFrameMk id="4" creationId="{69ADD116-A28F-4531-8DF8-F9510F127B95}"/>
          </ac:graphicFrameMkLst>
        </pc:graphicFrameChg>
      </pc:sldChg>
      <pc:sldChg chg="modSp del mod modNotes">
        <pc:chgData name="Daniel Esteban Ortiz Carvajal" userId="c61208ed-cfc9-41db-b98e-8ca1e81cbf8a" providerId="ADAL" clId="{460B01F5-D0D7-4F46-BDC5-EE5905768D06}" dt="2022-08-09T23:01:30.037" v="10521" actId="47"/>
        <pc:sldMkLst>
          <pc:docMk/>
          <pc:sldMk cId="1570982584" sldId="326"/>
        </pc:sldMkLst>
        <pc:spChg chg="mod">
          <ac:chgData name="Daniel Esteban Ortiz Carvajal" userId="c61208ed-cfc9-41db-b98e-8ca1e81cbf8a" providerId="ADAL" clId="{460B01F5-D0D7-4F46-BDC5-EE5905768D06}" dt="2022-08-09T19:52:14.541" v="6592" actId="947"/>
          <ac:spMkLst>
            <pc:docMk/>
            <pc:sldMk cId="1570982584" sldId="326"/>
            <ac:spMk id="2" creationId="{C274B575-B31C-415F-AF62-A305A7D4E415}"/>
          </ac:spMkLst>
        </pc:spChg>
        <pc:spChg chg="mod">
          <ac:chgData name="Daniel Esteban Ortiz Carvajal" userId="c61208ed-cfc9-41db-b98e-8ca1e81cbf8a" providerId="ADAL" clId="{460B01F5-D0D7-4F46-BDC5-EE5905768D06}" dt="2022-08-09T19:52:14.546" v="6594" actId="947"/>
          <ac:spMkLst>
            <pc:docMk/>
            <pc:sldMk cId="1570982584" sldId="326"/>
            <ac:spMk id="3" creationId="{9F907A29-1784-4E0C-A8FE-033C7E24E547}"/>
          </ac:spMkLst>
        </pc:spChg>
        <pc:spChg chg="mod">
          <ac:chgData name="Daniel Esteban Ortiz Carvajal" userId="c61208ed-cfc9-41db-b98e-8ca1e81cbf8a" providerId="ADAL" clId="{460B01F5-D0D7-4F46-BDC5-EE5905768D06}" dt="2022-08-09T19:52:14.556" v="6600" actId="947"/>
          <ac:spMkLst>
            <pc:docMk/>
            <pc:sldMk cId="1570982584" sldId="326"/>
            <ac:spMk id="8" creationId="{A92AD4E2-E77B-4608-8E8B-1E0954491076}"/>
          </ac:spMkLst>
        </pc:spChg>
        <pc:spChg chg="mod">
          <ac:chgData name="Daniel Esteban Ortiz Carvajal" userId="c61208ed-cfc9-41db-b98e-8ca1e81cbf8a" providerId="ADAL" clId="{460B01F5-D0D7-4F46-BDC5-EE5905768D06}" dt="2022-08-09T19:52:14.556" v="6598" actId="20577"/>
          <ac:spMkLst>
            <pc:docMk/>
            <pc:sldMk cId="1570982584" sldId="326"/>
            <ac:spMk id="9" creationId="{B75DBDDE-9615-4777-B224-B11AE13A50E9}"/>
          </ac:spMkLst>
        </pc:spChg>
        <pc:spChg chg="mod">
          <ac:chgData name="Daniel Esteban Ortiz Carvajal" userId="c61208ed-cfc9-41db-b98e-8ca1e81cbf8a" providerId="ADAL" clId="{460B01F5-D0D7-4F46-BDC5-EE5905768D06}" dt="2022-08-09T19:52:14.566" v="6604" actId="20577"/>
          <ac:spMkLst>
            <pc:docMk/>
            <pc:sldMk cId="1570982584" sldId="326"/>
            <ac:spMk id="10" creationId="{C65E88A4-F910-49CF-94D7-FDAD59A8014B}"/>
          </ac:spMkLst>
        </pc:spChg>
        <pc:graphicFrameChg chg="mod ord modVis replST">
          <ac:chgData name="Daniel Esteban Ortiz Carvajal" userId="c61208ed-cfc9-41db-b98e-8ca1e81cbf8a" providerId="ADAL" clId="{460B01F5-D0D7-4F46-BDC5-EE5905768D06}" dt="2022-08-09T19:52:19.216" v="8016" actId="1076"/>
          <ac:graphicFrameMkLst>
            <pc:docMk/>
            <pc:sldMk cId="1570982584" sldId="326"/>
            <ac:graphicFrameMk id="4" creationId="{232287C4-90B5-4EAF-B809-45C30FE80DA8}"/>
          </ac:graphicFrameMkLst>
        </pc:graphicFrameChg>
      </pc:sldChg>
      <pc:sldChg chg="addSp delSp modSp add mod">
        <pc:chgData name="Daniel Esteban Ortiz Carvajal" userId="c61208ed-cfc9-41db-b98e-8ca1e81cbf8a" providerId="ADAL" clId="{460B01F5-D0D7-4F46-BDC5-EE5905768D06}" dt="2022-08-10T00:15:03.854" v="10589" actId="123"/>
        <pc:sldMkLst>
          <pc:docMk/>
          <pc:sldMk cId="2492466882" sldId="327"/>
        </pc:sldMkLst>
        <pc:spChg chg="mod ord">
          <ac:chgData name="Daniel Esteban Ortiz Carvajal" userId="c61208ed-cfc9-41db-b98e-8ca1e81cbf8a" providerId="ADAL" clId="{460B01F5-D0D7-4F46-BDC5-EE5905768D06}" dt="2022-08-09T20:12:28.134" v="9201"/>
          <ac:spMkLst>
            <pc:docMk/>
            <pc:sldMk cId="2492466882" sldId="327"/>
            <ac:spMk id="2" creationId="{C274B575-B31C-415F-AF62-A305A7D4E415}"/>
          </ac:spMkLst>
        </pc:spChg>
        <pc:spChg chg="mod ord">
          <ac:chgData name="Daniel Esteban Ortiz Carvajal" userId="c61208ed-cfc9-41db-b98e-8ca1e81cbf8a" providerId="ADAL" clId="{460B01F5-D0D7-4F46-BDC5-EE5905768D06}" dt="2022-08-10T00:15:01.495" v="10588" actId="123"/>
          <ac:spMkLst>
            <pc:docMk/>
            <pc:sldMk cId="2492466882" sldId="327"/>
            <ac:spMk id="3" creationId="{9F907A29-1784-4E0C-A8FE-033C7E24E547}"/>
          </ac:spMkLst>
        </pc:spChg>
        <pc:spChg chg="mod ord">
          <ac:chgData name="Daniel Esteban Ortiz Carvajal" userId="c61208ed-cfc9-41db-b98e-8ca1e81cbf8a" providerId="ADAL" clId="{460B01F5-D0D7-4F46-BDC5-EE5905768D06}" dt="2022-08-09T20:04:57.070" v="8989"/>
          <ac:spMkLst>
            <pc:docMk/>
            <pc:sldMk cId="2492466882" sldId="327"/>
            <ac:spMk id="7" creationId="{0A875C65-F8AE-41DF-8148-5FCD78A6295A}"/>
          </ac:spMkLst>
        </pc:spChg>
        <pc:spChg chg="del mod ord">
          <ac:chgData name="Daniel Esteban Ortiz Carvajal" userId="c61208ed-cfc9-41db-b98e-8ca1e81cbf8a" providerId="ADAL" clId="{460B01F5-D0D7-4F46-BDC5-EE5905768D06}" dt="2022-08-09T20:02:30.234" v="8959" actId="478"/>
          <ac:spMkLst>
            <pc:docMk/>
            <pc:sldMk cId="2492466882" sldId="327"/>
            <ac:spMk id="9" creationId="{A7CFFEEC-CD8B-4DE4-8D67-5998B18D73F4}"/>
          </ac:spMkLst>
        </pc:spChg>
        <pc:spChg chg="mod ord">
          <ac:chgData name="Daniel Esteban Ortiz Carvajal" userId="c61208ed-cfc9-41db-b98e-8ca1e81cbf8a" providerId="ADAL" clId="{460B01F5-D0D7-4F46-BDC5-EE5905768D06}" dt="2022-08-09T20:04:57.072" v="8993"/>
          <ac:spMkLst>
            <pc:docMk/>
            <pc:sldMk cId="2492466882" sldId="327"/>
            <ac:spMk id="11" creationId="{C3817D5B-1AF9-4157-83E9-F32F433F749A}"/>
          </ac:spMkLst>
        </pc:spChg>
        <pc:spChg chg="add mod ord">
          <ac:chgData name="Daniel Esteban Ortiz Carvajal" userId="c61208ed-cfc9-41db-b98e-8ca1e81cbf8a" providerId="ADAL" clId="{460B01F5-D0D7-4F46-BDC5-EE5905768D06}" dt="2022-08-10T00:15:03.854" v="10589" actId="123"/>
          <ac:spMkLst>
            <pc:docMk/>
            <pc:sldMk cId="2492466882" sldId="327"/>
            <ac:spMk id="14" creationId="{E267B9E4-8869-4F7C-B2C8-3C54BE8B724B}"/>
          </ac:spMkLst>
        </pc:spChg>
        <pc:spChg chg="add mod ord">
          <ac:chgData name="Daniel Esteban Ortiz Carvajal" userId="c61208ed-cfc9-41db-b98e-8ca1e81cbf8a" providerId="ADAL" clId="{460B01F5-D0D7-4F46-BDC5-EE5905768D06}" dt="2022-08-09T20:05:11.823" v="9005" actId="1076"/>
          <ac:spMkLst>
            <pc:docMk/>
            <pc:sldMk cId="2492466882" sldId="327"/>
            <ac:spMk id="16" creationId="{DC215C2E-A2B0-4C8E-AB6F-6746242EE368}"/>
          </ac:spMkLst>
        </pc:spChg>
        <pc:graphicFrameChg chg="mod">
          <ac:chgData name="Daniel Esteban Ortiz Carvajal" userId="c61208ed-cfc9-41db-b98e-8ca1e81cbf8a" providerId="ADAL" clId="{460B01F5-D0D7-4F46-BDC5-EE5905768D06}" dt="2022-08-09T20:04:57.094" v="9002"/>
          <ac:graphicFrameMkLst>
            <pc:docMk/>
            <pc:sldMk cId="2492466882" sldId="327"/>
            <ac:graphicFrameMk id="4" creationId="{C9C26DB0-4F48-4A60-A028-DB70D851EF57}"/>
          </ac:graphicFrameMkLst>
        </pc:graphicFrameChg>
        <pc:picChg chg="add del mod">
          <ac:chgData name="Daniel Esteban Ortiz Carvajal" userId="c61208ed-cfc9-41db-b98e-8ca1e81cbf8a" providerId="ADAL" clId="{460B01F5-D0D7-4F46-BDC5-EE5905768D06}" dt="2022-08-09T20:00:48.700" v="8925" actId="478"/>
          <ac:picMkLst>
            <pc:docMk/>
            <pc:sldMk cId="2492466882" sldId="327"/>
            <ac:picMk id="6" creationId="{82C71780-7402-4552-BAE0-C09AA099040D}"/>
          </ac:picMkLst>
        </pc:picChg>
        <pc:picChg chg="del mod">
          <ac:chgData name="Daniel Esteban Ortiz Carvajal" userId="c61208ed-cfc9-41db-b98e-8ca1e81cbf8a" providerId="ADAL" clId="{460B01F5-D0D7-4F46-BDC5-EE5905768D06}" dt="2022-08-09T20:02:31.643" v="8960" actId="478"/>
          <ac:picMkLst>
            <pc:docMk/>
            <pc:sldMk cId="2492466882" sldId="327"/>
            <ac:picMk id="8" creationId="{C3D6A48E-C970-495C-A434-970839963903}"/>
          </ac:picMkLst>
        </pc:picChg>
        <pc:picChg chg="add del">
          <ac:chgData name="Daniel Esteban Ortiz Carvajal" userId="c61208ed-cfc9-41db-b98e-8ca1e81cbf8a" providerId="ADAL" clId="{460B01F5-D0D7-4F46-BDC5-EE5905768D06}" dt="2022-08-09T20:00:39.130" v="8920" actId="22"/>
          <ac:picMkLst>
            <pc:docMk/>
            <pc:sldMk cId="2492466882" sldId="327"/>
            <ac:picMk id="10" creationId="{FD26B5DA-4BBB-49B0-9E5C-590E21601AD5}"/>
          </ac:picMkLst>
        </pc:picChg>
        <pc:picChg chg="add mod ord">
          <ac:chgData name="Daniel Esteban Ortiz Carvajal" userId="c61208ed-cfc9-41db-b98e-8ca1e81cbf8a" providerId="ADAL" clId="{460B01F5-D0D7-4F46-BDC5-EE5905768D06}" dt="2022-08-09T20:04:57.071" v="8991"/>
          <ac:picMkLst>
            <pc:docMk/>
            <pc:sldMk cId="2492466882" sldId="327"/>
            <ac:picMk id="13" creationId="{B8778D8B-1524-4847-B867-E9534A38ED9E}"/>
          </ac:picMkLst>
        </pc:picChg>
        <pc:picChg chg="add del mod">
          <ac:chgData name="Daniel Esteban Ortiz Carvajal" userId="c61208ed-cfc9-41db-b98e-8ca1e81cbf8a" providerId="ADAL" clId="{460B01F5-D0D7-4F46-BDC5-EE5905768D06}" dt="2022-08-09T20:04:44.340" v="8978" actId="478"/>
          <ac:picMkLst>
            <pc:docMk/>
            <pc:sldMk cId="2492466882" sldId="327"/>
            <ac:picMk id="15" creationId="{B1860A2E-2CAD-4D69-94CC-B884A77DB1CB}"/>
          </ac:picMkLst>
        </pc:picChg>
        <pc:picChg chg="add mod ord">
          <ac:chgData name="Daniel Esteban Ortiz Carvajal" userId="c61208ed-cfc9-41db-b98e-8ca1e81cbf8a" providerId="ADAL" clId="{460B01F5-D0D7-4F46-BDC5-EE5905768D06}" dt="2022-08-09T20:04:57.074" v="8997"/>
          <ac:picMkLst>
            <pc:docMk/>
            <pc:sldMk cId="2492466882" sldId="327"/>
            <ac:picMk id="18" creationId="{18284285-5506-49A9-8ACB-AFB816C9C27E}"/>
          </ac:picMkLst>
        </pc:picChg>
      </pc:sldChg>
      <pc:sldChg chg="modSp add del mod">
        <pc:chgData name="Daniel Esteban Ortiz Carvajal" userId="c61208ed-cfc9-41db-b98e-8ca1e81cbf8a" providerId="ADAL" clId="{460B01F5-D0D7-4F46-BDC5-EE5905768D06}" dt="2022-08-09T23:01:54.442" v="10522" actId="47"/>
        <pc:sldMkLst>
          <pc:docMk/>
          <pc:sldMk cId="270619877" sldId="328"/>
        </pc:sldMkLst>
        <pc:spChg chg="mod">
          <ac:chgData name="Daniel Esteban Ortiz Carvajal" userId="c61208ed-cfc9-41db-b98e-8ca1e81cbf8a" providerId="ADAL" clId="{460B01F5-D0D7-4F46-BDC5-EE5905768D06}" dt="2022-08-09T20:12:30.564" v="9202"/>
          <ac:spMkLst>
            <pc:docMk/>
            <pc:sldMk cId="270619877" sldId="328"/>
            <ac:spMk id="2" creationId="{C274B575-B31C-415F-AF62-A305A7D4E415}"/>
          </ac:spMkLst>
        </pc:spChg>
        <pc:spChg chg="mod">
          <ac:chgData name="Daniel Esteban Ortiz Carvajal" userId="c61208ed-cfc9-41db-b98e-8ca1e81cbf8a" providerId="ADAL" clId="{460B01F5-D0D7-4F46-BDC5-EE5905768D06}" dt="2022-08-09T20:11:23.265" v="9197" actId="20577"/>
          <ac:spMkLst>
            <pc:docMk/>
            <pc:sldMk cId="270619877" sldId="328"/>
            <ac:spMk id="14" creationId="{E267B9E4-8869-4F7C-B2C8-3C54BE8B724B}"/>
          </ac:spMkLst>
        </pc:spChg>
      </pc:sldChg>
      <pc:sldChg chg="addSp delSp modSp add mod">
        <pc:chgData name="Daniel Esteban Ortiz Carvajal" userId="c61208ed-cfc9-41db-b98e-8ca1e81cbf8a" providerId="ADAL" clId="{460B01F5-D0D7-4F46-BDC5-EE5905768D06}" dt="2022-08-10T00:42:59.742" v="11081" actId="20577"/>
        <pc:sldMkLst>
          <pc:docMk/>
          <pc:sldMk cId="3651812480" sldId="329"/>
        </pc:sldMkLst>
        <pc:spChg chg="mod ord">
          <ac:chgData name="Daniel Esteban Ortiz Carvajal" userId="c61208ed-cfc9-41db-b98e-8ca1e81cbf8a" providerId="ADAL" clId="{460B01F5-D0D7-4F46-BDC5-EE5905768D06}" dt="2022-08-09T20:44:05.809" v="9391"/>
          <ac:spMkLst>
            <pc:docMk/>
            <pc:sldMk cId="3651812480" sldId="329"/>
            <ac:spMk id="2" creationId="{C274B575-B31C-415F-AF62-A305A7D4E415}"/>
          </ac:spMkLst>
        </pc:spChg>
        <pc:spChg chg="mod ord">
          <ac:chgData name="Daniel Esteban Ortiz Carvajal" userId="c61208ed-cfc9-41db-b98e-8ca1e81cbf8a" providerId="ADAL" clId="{460B01F5-D0D7-4F46-BDC5-EE5905768D06}" dt="2022-08-10T00:15:12.937" v="10592" actId="14100"/>
          <ac:spMkLst>
            <pc:docMk/>
            <pc:sldMk cId="3651812480" sldId="329"/>
            <ac:spMk id="3" creationId="{9F907A29-1784-4E0C-A8FE-033C7E24E547}"/>
          </ac:spMkLst>
        </pc:spChg>
        <pc:spChg chg="mod ord">
          <ac:chgData name="Daniel Esteban Ortiz Carvajal" userId="c61208ed-cfc9-41db-b98e-8ca1e81cbf8a" providerId="ADAL" clId="{460B01F5-D0D7-4F46-BDC5-EE5905768D06}" dt="2022-08-09T20:44:05.809" v="9395"/>
          <ac:spMkLst>
            <pc:docMk/>
            <pc:sldMk cId="3651812480" sldId="329"/>
            <ac:spMk id="7" creationId="{0A875C65-F8AE-41DF-8148-5FCD78A6295A}"/>
          </ac:spMkLst>
        </pc:spChg>
        <pc:spChg chg="mod ord">
          <ac:chgData name="Daniel Esteban Ortiz Carvajal" userId="c61208ed-cfc9-41db-b98e-8ca1e81cbf8a" providerId="ADAL" clId="{460B01F5-D0D7-4F46-BDC5-EE5905768D06}" dt="2022-08-10T00:28:17.001" v="11037" actId="1076"/>
          <ac:spMkLst>
            <pc:docMk/>
            <pc:sldMk cId="3651812480" sldId="329"/>
            <ac:spMk id="11" creationId="{C3817D5B-1AF9-4157-83E9-F32F433F749A}"/>
          </ac:spMkLst>
        </pc:spChg>
        <pc:spChg chg="add del mod ord">
          <ac:chgData name="Daniel Esteban Ortiz Carvajal" userId="c61208ed-cfc9-41db-b98e-8ca1e81cbf8a" providerId="ADAL" clId="{460B01F5-D0D7-4F46-BDC5-EE5905768D06}" dt="2022-08-09T20:55:45.341" v="9453" actId="478"/>
          <ac:spMkLst>
            <pc:docMk/>
            <pc:sldMk cId="3651812480" sldId="329"/>
            <ac:spMk id="12" creationId="{BD8EF4B5-518D-4AD8-AEAF-110D45C198E5}"/>
          </ac:spMkLst>
        </pc:spChg>
        <pc:spChg chg="del">
          <ac:chgData name="Daniel Esteban Ortiz Carvajal" userId="c61208ed-cfc9-41db-b98e-8ca1e81cbf8a" providerId="ADAL" clId="{460B01F5-D0D7-4F46-BDC5-EE5905768D06}" dt="2022-08-09T20:35:16.384" v="9289" actId="478"/>
          <ac:spMkLst>
            <pc:docMk/>
            <pc:sldMk cId="3651812480" sldId="329"/>
            <ac:spMk id="14" creationId="{E267B9E4-8869-4F7C-B2C8-3C54BE8B724B}"/>
          </ac:spMkLst>
        </pc:spChg>
        <pc:spChg chg="add mod">
          <ac:chgData name="Daniel Esteban Ortiz Carvajal" userId="c61208ed-cfc9-41db-b98e-8ca1e81cbf8a" providerId="ADAL" clId="{460B01F5-D0D7-4F46-BDC5-EE5905768D06}" dt="2022-08-10T00:42:59.742" v="11081" actId="20577"/>
          <ac:spMkLst>
            <pc:docMk/>
            <pc:sldMk cId="3651812480" sldId="329"/>
            <ac:spMk id="15" creationId="{CE24284A-B6C5-4B7D-B962-43794F8876BE}"/>
          </ac:spMkLst>
        </pc:spChg>
        <pc:spChg chg="del">
          <ac:chgData name="Daniel Esteban Ortiz Carvajal" userId="c61208ed-cfc9-41db-b98e-8ca1e81cbf8a" providerId="ADAL" clId="{460B01F5-D0D7-4F46-BDC5-EE5905768D06}" dt="2022-08-09T20:35:18.324" v="9291" actId="478"/>
          <ac:spMkLst>
            <pc:docMk/>
            <pc:sldMk cId="3651812480" sldId="329"/>
            <ac:spMk id="16" creationId="{DC215C2E-A2B0-4C8E-AB6F-6746242EE368}"/>
          </ac:spMkLst>
        </pc:spChg>
        <pc:graphicFrameChg chg="mod">
          <ac:chgData name="Daniel Esteban Ortiz Carvajal" userId="c61208ed-cfc9-41db-b98e-8ca1e81cbf8a" providerId="ADAL" clId="{460B01F5-D0D7-4F46-BDC5-EE5905768D06}" dt="2022-08-09T20:44:05.809" v="9404"/>
          <ac:graphicFrameMkLst>
            <pc:docMk/>
            <pc:sldMk cId="3651812480" sldId="329"/>
            <ac:graphicFrameMk id="4" creationId="{C9C26DB0-4F48-4A60-A028-DB70D851EF57}"/>
          </ac:graphicFrameMkLst>
        </pc:graphicFrameChg>
        <pc:picChg chg="add mod ord">
          <ac:chgData name="Daniel Esteban Ortiz Carvajal" userId="c61208ed-cfc9-41db-b98e-8ca1e81cbf8a" providerId="ADAL" clId="{460B01F5-D0D7-4F46-BDC5-EE5905768D06}" dt="2022-08-09T20:59:05.315" v="9733" actId="1076"/>
          <ac:picMkLst>
            <pc:docMk/>
            <pc:sldMk cId="3651812480" sldId="329"/>
            <ac:picMk id="6" creationId="{9C1AD289-F0A5-4095-8677-737A580783C9}"/>
          </ac:picMkLst>
        </pc:picChg>
        <pc:picChg chg="add mod">
          <ac:chgData name="Daniel Esteban Ortiz Carvajal" userId="c61208ed-cfc9-41db-b98e-8ca1e81cbf8a" providerId="ADAL" clId="{460B01F5-D0D7-4F46-BDC5-EE5905768D06}" dt="2022-08-09T20:58:50.948" v="9729" actId="14100"/>
          <ac:picMkLst>
            <pc:docMk/>
            <pc:sldMk cId="3651812480" sldId="329"/>
            <ac:picMk id="9" creationId="{DE3F86A2-227E-4973-9BC6-548E8C61879D}"/>
          </ac:picMkLst>
        </pc:picChg>
        <pc:picChg chg="del mod">
          <ac:chgData name="Daniel Esteban Ortiz Carvajal" userId="c61208ed-cfc9-41db-b98e-8ca1e81cbf8a" providerId="ADAL" clId="{460B01F5-D0D7-4F46-BDC5-EE5905768D06}" dt="2022-08-09T20:36:28.954" v="9348" actId="478"/>
          <ac:picMkLst>
            <pc:docMk/>
            <pc:sldMk cId="3651812480" sldId="329"/>
            <ac:picMk id="13" creationId="{B8778D8B-1524-4847-B867-E9534A38ED9E}"/>
          </ac:picMkLst>
        </pc:picChg>
        <pc:picChg chg="del">
          <ac:chgData name="Daniel Esteban Ortiz Carvajal" userId="c61208ed-cfc9-41db-b98e-8ca1e81cbf8a" providerId="ADAL" clId="{460B01F5-D0D7-4F46-BDC5-EE5905768D06}" dt="2022-08-09T20:35:17.234" v="9290" actId="478"/>
          <ac:picMkLst>
            <pc:docMk/>
            <pc:sldMk cId="3651812480" sldId="329"/>
            <ac:picMk id="18" creationId="{18284285-5506-49A9-8ACB-AFB816C9C27E}"/>
          </ac:picMkLst>
        </pc:picChg>
      </pc:sldChg>
      <pc:sldChg chg="addSp delSp modSp add mod">
        <pc:chgData name="Daniel Esteban Ortiz Carvajal" userId="c61208ed-cfc9-41db-b98e-8ca1e81cbf8a" providerId="ADAL" clId="{460B01F5-D0D7-4F46-BDC5-EE5905768D06}" dt="2022-08-10T00:43:27.338" v="11082" actId="115"/>
        <pc:sldMkLst>
          <pc:docMk/>
          <pc:sldMk cId="2641930197" sldId="330"/>
        </pc:sldMkLst>
        <pc:spChg chg="mod">
          <ac:chgData name="Daniel Esteban Ortiz Carvajal" userId="c61208ed-cfc9-41db-b98e-8ca1e81cbf8a" providerId="ADAL" clId="{460B01F5-D0D7-4F46-BDC5-EE5905768D06}" dt="2022-08-09T22:53:07.123" v="10268" actId="947"/>
          <ac:spMkLst>
            <pc:docMk/>
            <pc:sldMk cId="2641930197" sldId="330"/>
            <ac:spMk id="2" creationId="{C274B575-B31C-415F-AF62-A305A7D4E415}"/>
          </ac:spMkLst>
        </pc:spChg>
        <pc:spChg chg="mod">
          <ac:chgData name="Daniel Esteban Ortiz Carvajal" userId="c61208ed-cfc9-41db-b98e-8ca1e81cbf8a" providerId="ADAL" clId="{460B01F5-D0D7-4F46-BDC5-EE5905768D06}" dt="2022-08-10T00:15:23.088" v="10594" actId="123"/>
          <ac:spMkLst>
            <pc:docMk/>
            <pc:sldMk cId="2641930197" sldId="330"/>
            <ac:spMk id="3" creationId="{9F907A29-1784-4E0C-A8FE-033C7E24E547}"/>
          </ac:spMkLst>
        </pc:spChg>
        <pc:spChg chg="mod">
          <ac:chgData name="Daniel Esteban Ortiz Carvajal" userId="c61208ed-cfc9-41db-b98e-8ca1e81cbf8a" providerId="ADAL" clId="{460B01F5-D0D7-4F46-BDC5-EE5905768D06}" dt="2022-08-09T22:53:07.135" v="10272" actId="947"/>
          <ac:spMkLst>
            <pc:docMk/>
            <pc:sldMk cId="2641930197" sldId="330"/>
            <ac:spMk id="7" creationId="{0A875C65-F8AE-41DF-8148-5FCD78A6295A}"/>
          </ac:spMkLst>
        </pc:spChg>
        <pc:spChg chg="del">
          <ac:chgData name="Daniel Esteban Ortiz Carvajal" userId="c61208ed-cfc9-41db-b98e-8ca1e81cbf8a" providerId="ADAL" clId="{460B01F5-D0D7-4F46-BDC5-EE5905768D06}" dt="2022-08-09T22:44:25.191" v="9987" actId="478"/>
          <ac:spMkLst>
            <pc:docMk/>
            <pc:sldMk cId="2641930197" sldId="330"/>
            <ac:spMk id="11" creationId="{C3817D5B-1AF9-4157-83E9-F32F433F749A}"/>
          </ac:spMkLst>
        </pc:spChg>
        <pc:spChg chg="add mod">
          <ac:chgData name="Daniel Esteban Ortiz Carvajal" userId="c61208ed-cfc9-41db-b98e-8ca1e81cbf8a" providerId="ADAL" clId="{460B01F5-D0D7-4F46-BDC5-EE5905768D06}" dt="2022-08-10T00:43:27.338" v="11082" actId="115"/>
          <ac:spMkLst>
            <pc:docMk/>
            <pc:sldMk cId="2641930197" sldId="330"/>
            <ac:spMk id="12" creationId="{1CBA2BFC-C384-4131-A78D-69F5971FE4C4}"/>
          </ac:spMkLst>
        </pc:spChg>
        <pc:spChg chg="del">
          <ac:chgData name="Daniel Esteban Ortiz Carvajal" userId="c61208ed-cfc9-41db-b98e-8ca1e81cbf8a" providerId="ADAL" clId="{460B01F5-D0D7-4F46-BDC5-EE5905768D06}" dt="2022-08-09T20:59:25.457" v="9738" actId="478"/>
          <ac:spMkLst>
            <pc:docMk/>
            <pc:sldMk cId="2641930197" sldId="330"/>
            <ac:spMk id="15" creationId="{CE24284A-B6C5-4B7D-B962-43794F8876BE}"/>
          </ac:spMkLst>
        </pc:spChg>
        <pc:graphicFrameChg chg="mod">
          <ac:chgData name="Daniel Esteban Ortiz Carvajal" userId="c61208ed-cfc9-41db-b98e-8ca1e81cbf8a" providerId="ADAL" clId="{460B01F5-D0D7-4F46-BDC5-EE5905768D06}" dt="2022-08-09T22:53:08.905" v="10280"/>
          <ac:graphicFrameMkLst>
            <pc:docMk/>
            <pc:sldMk cId="2641930197" sldId="330"/>
            <ac:graphicFrameMk id="4" creationId="{C9C26DB0-4F48-4A60-A028-DB70D851EF57}"/>
          </ac:graphicFrameMkLst>
        </pc:graphicFrameChg>
        <pc:picChg chg="del mod">
          <ac:chgData name="Daniel Esteban Ortiz Carvajal" userId="c61208ed-cfc9-41db-b98e-8ca1e81cbf8a" providerId="ADAL" clId="{460B01F5-D0D7-4F46-BDC5-EE5905768D06}" dt="2022-08-09T22:44:23.335" v="9986" actId="478"/>
          <ac:picMkLst>
            <pc:docMk/>
            <pc:sldMk cId="2641930197" sldId="330"/>
            <ac:picMk id="6" creationId="{9C1AD289-F0A5-4095-8677-737A580783C9}"/>
          </ac:picMkLst>
        </pc:picChg>
        <pc:picChg chg="add mod">
          <ac:chgData name="Daniel Esteban Ortiz Carvajal" userId="c61208ed-cfc9-41db-b98e-8ca1e81cbf8a" providerId="ADAL" clId="{460B01F5-D0D7-4F46-BDC5-EE5905768D06}" dt="2022-08-09T22:52:47.827" v="10264" actId="1076"/>
          <ac:picMkLst>
            <pc:docMk/>
            <pc:sldMk cId="2641930197" sldId="330"/>
            <ac:picMk id="8" creationId="{DFA46584-4C0F-4B49-A951-8F2B5286DC52}"/>
          </ac:picMkLst>
        </pc:picChg>
        <pc:picChg chg="del">
          <ac:chgData name="Daniel Esteban Ortiz Carvajal" userId="c61208ed-cfc9-41db-b98e-8ca1e81cbf8a" providerId="ADAL" clId="{460B01F5-D0D7-4F46-BDC5-EE5905768D06}" dt="2022-08-09T20:59:22.983" v="9737" actId="478"/>
          <ac:picMkLst>
            <pc:docMk/>
            <pc:sldMk cId="2641930197" sldId="330"/>
            <ac:picMk id="9" creationId="{DE3F86A2-227E-4973-9BC6-548E8C61879D}"/>
          </ac:picMkLst>
        </pc:picChg>
        <pc:picChg chg="add mod">
          <ac:chgData name="Daniel Esteban Ortiz Carvajal" userId="c61208ed-cfc9-41db-b98e-8ca1e81cbf8a" providerId="ADAL" clId="{460B01F5-D0D7-4F46-BDC5-EE5905768D06}" dt="2022-08-10T00:15:31.914" v="10597" actId="14100"/>
          <ac:picMkLst>
            <pc:docMk/>
            <pc:sldMk cId="2641930197" sldId="330"/>
            <ac:picMk id="13" creationId="{680ACB57-D02A-48B8-8463-CD527733FA3A}"/>
          </ac:picMkLst>
        </pc:picChg>
      </pc:sldChg>
      <pc:sldChg chg="delSp add del mod">
        <pc:chgData name="Daniel Esteban Ortiz Carvajal" userId="c61208ed-cfc9-41db-b98e-8ca1e81cbf8a" providerId="ADAL" clId="{460B01F5-D0D7-4F46-BDC5-EE5905768D06}" dt="2022-08-09T22:54:26.339" v="10290" actId="47"/>
        <pc:sldMkLst>
          <pc:docMk/>
          <pc:sldMk cId="2899295003" sldId="331"/>
        </pc:sldMkLst>
        <pc:picChg chg="del">
          <ac:chgData name="Daniel Esteban Ortiz Carvajal" userId="c61208ed-cfc9-41db-b98e-8ca1e81cbf8a" providerId="ADAL" clId="{460B01F5-D0D7-4F46-BDC5-EE5905768D06}" dt="2022-08-09T22:54:13.085" v="10284" actId="478"/>
          <ac:picMkLst>
            <pc:docMk/>
            <pc:sldMk cId="2899295003" sldId="331"/>
            <ac:picMk id="6" creationId="{9C1AD289-F0A5-4095-8677-737A580783C9}"/>
          </ac:picMkLst>
        </pc:picChg>
      </pc:sldChg>
      <pc:sldChg chg="delSp add del mod">
        <pc:chgData name="Daniel Esteban Ortiz Carvajal" userId="c61208ed-cfc9-41db-b98e-8ca1e81cbf8a" providerId="ADAL" clId="{460B01F5-D0D7-4F46-BDC5-EE5905768D06}" dt="2022-08-09T22:54:29.423" v="10291" actId="47"/>
        <pc:sldMkLst>
          <pc:docMk/>
          <pc:sldMk cId="1195320448" sldId="332"/>
        </pc:sldMkLst>
        <pc:picChg chg="del">
          <ac:chgData name="Daniel Esteban Ortiz Carvajal" userId="c61208ed-cfc9-41db-b98e-8ca1e81cbf8a" providerId="ADAL" clId="{460B01F5-D0D7-4F46-BDC5-EE5905768D06}" dt="2022-08-09T22:54:16.843" v="10286" actId="478"/>
          <ac:picMkLst>
            <pc:docMk/>
            <pc:sldMk cId="1195320448" sldId="332"/>
            <ac:picMk id="6" creationId="{9C1AD289-F0A5-4095-8677-737A580783C9}"/>
          </ac:picMkLst>
        </pc:picChg>
      </pc:sldChg>
      <pc:sldChg chg="addSp delSp modSp add mod">
        <pc:chgData name="Daniel Esteban Ortiz Carvajal" userId="c61208ed-cfc9-41db-b98e-8ca1e81cbf8a" providerId="ADAL" clId="{460B01F5-D0D7-4F46-BDC5-EE5905768D06}" dt="2022-08-09T23:00:24.400" v="10520" actId="1076"/>
        <pc:sldMkLst>
          <pc:docMk/>
          <pc:sldMk cId="2701873555" sldId="333"/>
        </pc:sldMkLst>
        <pc:spChg chg="mod ord">
          <ac:chgData name="Daniel Esteban Ortiz Carvajal" userId="c61208ed-cfc9-41db-b98e-8ca1e81cbf8a" providerId="ADAL" clId="{460B01F5-D0D7-4F46-BDC5-EE5905768D06}" dt="2022-08-09T22:56:03.761" v="10298"/>
          <ac:spMkLst>
            <pc:docMk/>
            <pc:sldMk cId="2701873555" sldId="333"/>
            <ac:spMk id="2" creationId="{C274B575-B31C-415F-AF62-A305A7D4E415}"/>
          </ac:spMkLst>
        </pc:spChg>
        <pc:spChg chg="mod ord">
          <ac:chgData name="Daniel Esteban Ortiz Carvajal" userId="c61208ed-cfc9-41db-b98e-8ca1e81cbf8a" providerId="ADAL" clId="{460B01F5-D0D7-4F46-BDC5-EE5905768D06}" dt="2022-08-09T22:57:31.915" v="10426" actId="20577"/>
          <ac:spMkLst>
            <pc:docMk/>
            <pc:sldMk cId="2701873555" sldId="333"/>
            <ac:spMk id="3" creationId="{9F907A29-1784-4E0C-A8FE-033C7E24E547}"/>
          </ac:spMkLst>
        </pc:spChg>
        <pc:spChg chg="mod ord">
          <ac:chgData name="Daniel Esteban Ortiz Carvajal" userId="c61208ed-cfc9-41db-b98e-8ca1e81cbf8a" providerId="ADAL" clId="{460B01F5-D0D7-4F46-BDC5-EE5905768D06}" dt="2022-08-09T22:56:03.763" v="10302"/>
          <ac:spMkLst>
            <pc:docMk/>
            <pc:sldMk cId="2701873555" sldId="333"/>
            <ac:spMk id="7" creationId="{0A875C65-F8AE-41DF-8148-5FCD78A6295A}"/>
          </ac:spMkLst>
        </pc:spChg>
        <pc:spChg chg="mod ord">
          <ac:chgData name="Daniel Esteban Ortiz Carvajal" userId="c61208ed-cfc9-41db-b98e-8ca1e81cbf8a" providerId="ADAL" clId="{460B01F5-D0D7-4F46-BDC5-EE5905768D06}" dt="2022-08-09T23:00:24.400" v="10520" actId="1076"/>
          <ac:spMkLst>
            <pc:docMk/>
            <pc:sldMk cId="2701873555" sldId="333"/>
            <ac:spMk id="11" creationId="{C3817D5B-1AF9-4157-83E9-F32F433F749A}"/>
          </ac:spMkLst>
        </pc:spChg>
        <pc:spChg chg="mod ord">
          <ac:chgData name="Daniel Esteban Ortiz Carvajal" userId="c61208ed-cfc9-41db-b98e-8ca1e81cbf8a" providerId="ADAL" clId="{460B01F5-D0D7-4F46-BDC5-EE5905768D06}" dt="2022-08-09T23:00:19.119" v="10518" actId="14100"/>
          <ac:spMkLst>
            <pc:docMk/>
            <pc:sldMk cId="2701873555" sldId="333"/>
            <ac:spMk id="15" creationId="{CE24284A-B6C5-4B7D-B962-43794F8876BE}"/>
          </ac:spMkLst>
        </pc:spChg>
        <pc:graphicFrameChg chg="mod">
          <ac:chgData name="Daniel Esteban Ortiz Carvajal" userId="c61208ed-cfc9-41db-b98e-8ca1e81cbf8a" providerId="ADAL" clId="{460B01F5-D0D7-4F46-BDC5-EE5905768D06}" dt="2022-08-09T22:56:03.773" v="10313"/>
          <ac:graphicFrameMkLst>
            <pc:docMk/>
            <pc:sldMk cId="2701873555" sldId="333"/>
            <ac:graphicFrameMk id="4" creationId="{C9C26DB0-4F48-4A60-A028-DB70D851EF57}"/>
          </ac:graphicFrameMkLst>
        </pc:graphicFrameChg>
        <pc:picChg chg="del">
          <ac:chgData name="Daniel Esteban Ortiz Carvajal" userId="c61208ed-cfc9-41db-b98e-8ca1e81cbf8a" providerId="ADAL" clId="{460B01F5-D0D7-4F46-BDC5-EE5905768D06}" dt="2022-08-09T22:54:31.316" v="10292" actId="478"/>
          <ac:picMkLst>
            <pc:docMk/>
            <pc:sldMk cId="2701873555" sldId="333"/>
            <ac:picMk id="6" creationId="{9C1AD289-F0A5-4095-8677-737A580783C9}"/>
          </ac:picMkLst>
        </pc:picChg>
        <pc:picChg chg="add mod ord">
          <ac:chgData name="Daniel Esteban Ortiz Carvajal" userId="c61208ed-cfc9-41db-b98e-8ca1e81cbf8a" providerId="ADAL" clId="{460B01F5-D0D7-4F46-BDC5-EE5905768D06}" dt="2022-08-09T23:00:21.238" v="10519" actId="1076"/>
          <ac:picMkLst>
            <pc:docMk/>
            <pc:sldMk cId="2701873555" sldId="333"/>
            <ac:picMk id="8" creationId="{3683F089-D730-4C4D-9CB9-C9B56A630564}"/>
          </ac:picMkLst>
        </pc:picChg>
        <pc:picChg chg="del mod ord">
          <ac:chgData name="Daniel Esteban Ortiz Carvajal" userId="c61208ed-cfc9-41db-b98e-8ca1e81cbf8a" providerId="ADAL" clId="{460B01F5-D0D7-4F46-BDC5-EE5905768D06}" dt="2022-08-09T22:59:49.786" v="10515" actId="478"/>
          <ac:picMkLst>
            <pc:docMk/>
            <pc:sldMk cId="2701873555" sldId="333"/>
            <ac:picMk id="9" creationId="{DE3F86A2-227E-4973-9BC6-548E8C61879D}"/>
          </ac:picMkLst>
        </pc:picChg>
      </pc:sldChg>
      <pc:sldChg chg="addSp delSp modSp add mod">
        <pc:chgData name="Daniel Esteban Ortiz Carvajal" userId="c61208ed-cfc9-41db-b98e-8ca1e81cbf8a" providerId="ADAL" clId="{460B01F5-D0D7-4F46-BDC5-EE5905768D06}" dt="2022-08-10T00:14:38.236" v="10587" actId="20577"/>
        <pc:sldMkLst>
          <pc:docMk/>
          <pc:sldMk cId="1304682703" sldId="334"/>
        </pc:sldMkLst>
        <pc:spChg chg="mod">
          <ac:chgData name="Daniel Esteban Ortiz Carvajal" userId="c61208ed-cfc9-41db-b98e-8ca1e81cbf8a" providerId="ADAL" clId="{460B01F5-D0D7-4F46-BDC5-EE5905768D06}" dt="2022-08-09T23:21:43.672" v="10550" actId="20577"/>
          <ac:spMkLst>
            <pc:docMk/>
            <pc:sldMk cId="1304682703" sldId="334"/>
            <ac:spMk id="2" creationId="{C274B575-B31C-415F-AF62-A305A7D4E415}"/>
          </ac:spMkLst>
        </pc:spChg>
        <pc:spChg chg="mod">
          <ac:chgData name="Daniel Esteban Ortiz Carvajal" userId="c61208ed-cfc9-41db-b98e-8ca1e81cbf8a" providerId="ADAL" clId="{460B01F5-D0D7-4F46-BDC5-EE5905768D06}" dt="2022-08-10T00:14:24.384" v="10580" actId="20577"/>
          <ac:spMkLst>
            <pc:docMk/>
            <pc:sldMk cId="1304682703" sldId="334"/>
            <ac:spMk id="3" creationId="{9F907A29-1784-4E0C-A8FE-033C7E24E547}"/>
          </ac:spMkLst>
        </pc:spChg>
        <pc:spChg chg="mod">
          <ac:chgData name="Daniel Esteban Ortiz Carvajal" userId="c61208ed-cfc9-41db-b98e-8ca1e81cbf8a" providerId="ADAL" clId="{460B01F5-D0D7-4F46-BDC5-EE5905768D06}" dt="2022-08-10T00:14:38.236" v="10587" actId="20577"/>
          <ac:spMkLst>
            <pc:docMk/>
            <pc:sldMk cId="1304682703" sldId="334"/>
            <ac:spMk id="9" creationId="{A7CFFEEC-CD8B-4DE4-8D67-5998B18D73F4}"/>
          </ac:spMkLst>
        </pc:spChg>
        <pc:spChg chg="del">
          <ac:chgData name="Daniel Esteban Ortiz Carvajal" userId="c61208ed-cfc9-41db-b98e-8ca1e81cbf8a" providerId="ADAL" clId="{460B01F5-D0D7-4F46-BDC5-EE5905768D06}" dt="2022-08-10T00:14:07.535" v="10556" actId="478"/>
          <ac:spMkLst>
            <pc:docMk/>
            <pc:sldMk cId="1304682703" sldId="334"/>
            <ac:spMk id="11" creationId="{C3817D5B-1AF9-4157-83E9-F32F433F749A}"/>
          </ac:spMkLst>
        </pc:spChg>
        <pc:picChg chg="del">
          <ac:chgData name="Daniel Esteban Ortiz Carvajal" userId="c61208ed-cfc9-41db-b98e-8ca1e81cbf8a" providerId="ADAL" clId="{460B01F5-D0D7-4F46-BDC5-EE5905768D06}" dt="2022-08-10T00:13:59.881" v="10554" actId="478"/>
          <ac:picMkLst>
            <pc:docMk/>
            <pc:sldMk cId="1304682703" sldId="334"/>
            <ac:picMk id="6" creationId="{82C71780-7402-4552-BAE0-C09AA099040D}"/>
          </ac:picMkLst>
        </pc:picChg>
        <pc:picChg chg="add mod">
          <ac:chgData name="Daniel Esteban Ortiz Carvajal" userId="c61208ed-cfc9-41db-b98e-8ca1e81cbf8a" providerId="ADAL" clId="{460B01F5-D0D7-4F46-BDC5-EE5905768D06}" dt="2022-08-10T00:14:11.461" v="10558" actId="14100"/>
          <ac:picMkLst>
            <pc:docMk/>
            <pc:sldMk cId="1304682703" sldId="334"/>
            <ac:picMk id="10" creationId="{9F1AD643-2F8D-4647-8E21-CC1688670DF9}"/>
          </ac:picMkLst>
        </pc:picChg>
      </pc:sldChg>
      <pc:sldChg chg="addSp delSp modSp add mod">
        <pc:chgData name="Daniel Esteban Ortiz Carvajal" userId="c61208ed-cfc9-41db-b98e-8ca1e81cbf8a" providerId="ADAL" clId="{460B01F5-D0D7-4F46-BDC5-EE5905768D06}" dt="2022-08-10T00:44:18.073" v="11107" actId="20577"/>
        <pc:sldMkLst>
          <pc:docMk/>
          <pc:sldMk cId="1277006554" sldId="335"/>
        </pc:sldMkLst>
        <pc:spChg chg="mod ord">
          <ac:chgData name="Daniel Esteban Ortiz Carvajal" userId="c61208ed-cfc9-41db-b98e-8ca1e81cbf8a" providerId="ADAL" clId="{460B01F5-D0D7-4F46-BDC5-EE5905768D06}" dt="2022-08-10T00:36:51.419" v="11039" actId="20577"/>
          <ac:spMkLst>
            <pc:docMk/>
            <pc:sldMk cId="1277006554" sldId="335"/>
            <ac:spMk id="2" creationId="{C274B575-B31C-415F-AF62-A305A7D4E415}"/>
          </ac:spMkLst>
        </pc:spChg>
        <pc:spChg chg="mod ord">
          <ac:chgData name="Daniel Esteban Ortiz Carvajal" userId="c61208ed-cfc9-41db-b98e-8ca1e81cbf8a" providerId="ADAL" clId="{460B01F5-D0D7-4F46-BDC5-EE5905768D06}" dt="2022-08-10T00:44:18.073" v="11107" actId="20577"/>
          <ac:spMkLst>
            <pc:docMk/>
            <pc:sldMk cId="1277006554" sldId="335"/>
            <ac:spMk id="3" creationId="{9F907A29-1784-4E0C-A8FE-033C7E24E547}"/>
          </ac:spMkLst>
        </pc:spChg>
        <pc:spChg chg="mod ord">
          <ac:chgData name="Daniel Esteban Ortiz Carvajal" userId="c61208ed-cfc9-41db-b98e-8ca1e81cbf8a" providerId="ADAL" clId="{460B01F5-D0D7-4F46-BDC5-EE5905768D06}" dt="2022-08-10T00:26:06.658" v="11010"/>
          <ac:spMkLst>
            <pc:docMk/>
            <pc:sldMk cId="1277006554" sldId="335"/>
            <ac:spMk id="7" creationId="{0A875C65-F8AE-41DF-8148-5FCD78A6295A}"/>
          </ac:spMkLst>
        </pc:spChg>
        <pc:spChg chg="del">
          <ac:chgData name="Daniel Esteban Ortiz Carvajal" userId="c61208ed-cfc9-41db-b98e-8ca1e81cbf8a" providerId="ADAL" clId="{460B01F5-D0D7-4F46-BDC5-EE5905768D06}" dt="2022-08-10T00:23:05.181" v="10825" actId="478"/>
          <ac:spMkLst>
            <pc:docMk/>
            <pc:sldMk cId="1277006554" sldId="335"/>
            <ac:spMk id="11" creationId="{C3817D5B-1AF9-4157-83E9-F32F433F749A}"/>
          </ac:spMkLst>
        </pc:spChg>
        <pc:spChg chg="mod ord">
          <ac:chgData name="Daniel Esteban Ortiz Carvajal" userId="c61208ed-cfc9-41db-b98e-8ca1e81cbf8a" providerId="ADAL" clId="{460B01F5-D0D7-4F46-BDC5-EE5905768D06}" dt="2022-08-10T00:26:06.658" v="11012"/>
          <ac:spMkLst>
            <pc:docMk/>
            <pc:sldMk cId="1277006554" sldId="335"/>
            <ac:spMk id="14" creationId="{E267B9E4-8869-4F7C-B2C8-3C54BE8B724B}"/>
          </ac:spMkLst>
        </pc:spChg>
        <pc:spChg chg="add mod">
          <ac:chgData name="Daniel Esteban Ortiz Carvajal" userId="c61208ed-cfc9-41db-b98e-8ca1e81cbf8a" providerId="ADAL" clId="{460B01F5-D0D7-4F46-BDC5-EE5905768D06}" dt="2022-08-10T00:26:57.377" v="11036" actId="1038"/>
          <ac:spMkLst>
            <pc:docMk/>
            <pc:sldMk cId="1277006554" sldId="335"/>
            <ac:spMk id="15" creationId="{4717B38C-374D-4209-AF12-B74534F1B827}"/>
          </ac:spMkLst>
        </pc:spChg>
        <pc:spChg chg="mod ord">
          <ac:chgData name="Daniel Esteban Ortiz Carvajal" userId="c61208ed-cfc9-41db-b98e-8ca1e81cbf8a" providerId="ADAL" clId="{460B01F5-D0D7-4F46-BDC5-EE5905768D06}" dt="2022-08-10T00:26:14.995" v="11024" actId="14100"/>
          <ac:spMkLst>
            <pc:docMk/>
            <pc:sldMk cId="1277006554" sldId="335"/>
            <ac:spMk id="16" creationId="{DC215C2E-A2B0-4C8E-AB6F-6746242EE368}"/>
          </ac:spMkLst>
        </pc:spChg>
        <pc:graphicFrameChg chg="mod">
          <ac:chgData name="Daniel Esteban Ortiz Carvajal" userId="c61208ed-cfc9-41db-b98e-8ca1e81cbf8a" providerId="ADAL" clId="{460B01F5-D0D7-4F46-BDC5-EE5905768D06}" dt="2022-08-10T00:26:06.664" v="11021"/>
          <ac:graphicFrameMkLst>
            <pc:docMk/>
            <pc:sldMk cId="1277006554" sldId="335"/>
            <ac:graphicFrameMk id="4" creationId="{C9C26DB0-4F48-4A60-A028-DB70D851EF57}"/>
          </ac:graphicFrameMkLst>
        </pc:graphicFrameChg>
        <pc:picChg chg="add mod ord">
          <ac:chgData name="Daniel Esteban Ortiz Carvajal" userId="c61208ed-cfc9-41db-b98e-8ca1e81cbf8a" providerId="ADAL" clId="{460B01F5-D0D7-4F46-BDC5-EE5905768D06}" dt="2022-08-10T00:26:06.659" v="11014"/>
          <ac:picMkLst>
            <pc:docMk/>
            <pc:sldMk cId="1277006554" sldId="335"/>
            <ac:picMk id="6" creationId="{0C9F669B-0D9A-401A-A2A1-271BC17C66EA}"/>
          </ac:picMkLst>
        </pc:picChg>
        <pc:picChg chg="add mod ord">
          <ac:chgData name="Daniel Esteban Ortiz Carvajal" userId="c61208ed-cfc9-41db-b98e-8ca1e81cbf8a" providerId="ADAL" clId="{460B01F5-D0D7-4F46-BDC5-EE5905768D06}" dt="2022-08-10T00:26:39.059" v="11034" actId="1076"/>
          <ac:picMkLst>
            <pc:docMk/>
            <pc:sldMk cId="1277006554" sldId="335"/>
            <ac:picMk id="9" creationId="{F83A07D4-0ED8-4AD7-830E-67A7FCA0C016}"/>
          </ac:picMkLst>
        </pc:picChg>
        <pc:picChg chg="del">
          <ac:chgData name="Daniel Esteban Ortiz Carvajal" userId="c61208ed-cfc9-41db-b98e-8ca1e81cbf8a" providerId="ADAL" clId="{460B01F5-D0D7-4F46-BDC5-EE5905768D06}" dt="2022-08-10T00:23:02.435" v="10824" actId="478"/>
          <ac:picMkLst>
            <pc:docMk/>
            <pc:sldMk cId="1277006554" sldId="335"/>
            <ac:picMk id="13" creationId="{B8778D8B-1524-4847-B867-E9534A38ED9E}"/>
          </ac:picMkLst>
        </pc:picChg>
        <pc:picChg chg="del">
          <ac:chgData name="Daniel Esteban Ortiz Carvajal" userId="c61208ed-cfc9-41db-b98e-8ca1e81cbf8a" providerId="ADAL" clId="{460B01F5-D0D7-4F46-BDC5-EE5905768D06}" dt="2022-08-10T00:23:19.205" v="10833" actId="478"/>
          <ac:picMkLst>
            <pc:docMk/>
            <pc:sldMk cId="1277006554" sldId="335"/>
            <ac:picMk id="18" creationId="{18284285-5506-49A9-8ACB-AFB816C9C27E}"/>
          </ac:picMkLst>
        </pc:picChg>
      </pc:sldChg>
      <pc:sldChg chg="addSp delSp modSp add mod">
        <pc:chgData name="Daniel Esteban Ortiz Carvajal" userId="c61208ed-cfc9-41db-b98e-8ca1e81cbf8a" providerId="ADAL" clId="{460B01F5-D0D7-4F46-BDC5-EE5905768D06}" dt="2022-08-10T14:59:41.867" v="11285" actId="20577"/>
        <pc:sldMkLst>
          <pc:docMk/>
          <pc:sldMk cId="2951470416" sldId="336"/>
        </pc:sldMkLst>
        <pc:spChg chg="mod">
          <ac:chgData name="Daniel Esteban Ortiz Carvajal" userId="c61208ed-cfc9-41db-b98e-8ca1e81cbf8a" providerId="ADAL" clId="{460B01F5-D0D7-4F46-BDC5-EE5905768D06}" dt="2022-08-10T14:18:01.672" v="11177" actId="20577"/>
          <ac:spMkLst>
            <pc:docMk/>
            <pc:sldMk cId="2951470416" sldId="336"/>
            <ac:spMk id="2" creationId="{C274B575-B31C-415F-AF62-A305A7D4E415}"/>
          </ac:spMkLst>
        </pc:spChg>
        <pc:spChg chg="mod">
          <ac:chgData name="Daniel Esteban Ortiz Carvajal" userId="c61208ed-cfc9-41db-b98e-8ca1e81cbf8a" providerId="ADAL" clId="{460B01F5-D0D7-4F46-BDC5-EE5905768D06}" dt="2022-08-10T14:59:41.867" v="11285" actId="20577"/>
          <ac:spMkLst>
            <pc:docMk/>
            <pc:sldMk cId="2951470416" sldId="336"/>
            <ac:spMk id="3" creationId="{9F907A29-1784-4E0C-A8FE-033C7E24E547}"/>
          </ac:spMkLst>
        </pc:spChg>
        <pc:spChg chg="del">
          <ac:chgData name="Daniel Esteban Ortiz Carvajal" userId="c61208ed-cfc9-41db-b98e-8ca1e81cbf8a" providerId="ADAL" clId="{460B01F5-D0D7-4F46-BDC5-EE5905768D06}" dt="2022-08-10T14:56:28.590" v="11260" actId="478"/>
          <ac:spMkLst>
            <pc:docMk/>
            <pc:sldMk cId="2951470416" sldId="336"/>
            <ac:spMk id="9" creationId="{A7CFFEEC-CD8B-4DE4-8D67-5998B18D73F4}"/>
          </ac:spMkLst>
        </pc:spChg>
        <pc:spChg chg="add mod">
          <ac:chgData name="Daniel Esteban Ortiz Carvajal" userId="c61208ed-cfc9-41db-b98e-8ca1e81cbf8a" providerId="ADAL" clId="{460B01F5-D0D7-4F46-BDC5-EE5905768D06}" dt="2022-08-10T14:58:47.512" v="11278" actId="1076"/>
          <ac:spMkLst>
            <pc:docMk/>
            <pc:sldMk cId="2951470416" sldId="336"/>
            <ac:spMk id="11" creationId="{06F5F878-718A-462B-9D5D-A1DA92D7DA05}"/>
          </ac:spMkLst>
        </pc:spChg>
        <pc:picChg chg="add mod">
          <ac:chgData name="Daniel Esteban Ortiz Carvajal" userId="c61208ed-cfc9-41db-b98e-8ca1e81cbf8a" providerId="ADAL" clId="{460B01F5-D0D7-4F46-BDC5-EE5905768D06}" dt="2022-08-10T14:58:46.516" v="11277" actId="14100"/>
          <ac:picMkLst>
            <pc:docMk/>
            <pc:sldMk cId="2951470416" sldId="336"/>
            <ac:picMk id="6" creationId="{142B9058-1D16-49FE-B9E7-DAFE96B30DF9}"/>
          </ac:picMkLst>
        </pc:picChg>
        <pc:picChg chg="del">
          <ac:chgData name="Daniel Esteban Ortiz Carvajal" userId="c61208ed-cfc9-41db-b98e-8ca1e81cbf8a" providerId="ADAL" clId="{460B01F5-D0D7-4F46-BDC5-EE5905768D06}" dt="2022-08-10T14:56:28.590" v="11260" actId="478"/>
          <ac:picMkLst>
            <pc:docMk/>
            <pc:sldMk cId="2951470416" sldId="336"/>
            <ac:picMk id="8" creationId="{C3D6A48E-C970-495C-A434-970839963903}"/>
          </ac:picMkLst>
        </pc:picChg>
        <pc:picChg chg="del mod">
          <ac:chgData name="Daniel Esteban Ortiz Carvajal" userId="c61208ed-cfc9-41db-b98e-8ca1e81cbf8a" providerId="ADAL" clId="{460B01F5-D0D7-4F46-BDC5-EE5905768D06}" dt="2022-08-10T14:56:30.117" v="11262" actId="478"/>
          <ac:picMkLst>
            <pc:docMk/>
            <pc:sldMk cId="2951470416" sldId="336"/>
            <ac:picMk id="10" creationId="{9F1AD643-2F8D-4647-8E21-CC1688670DF9}"/>
          </ac:picMkLst>
        </pc:picChg>
        <pc:picChg chg="add mod">
          <ac:chgData name="Daniel Esteban Ortiz Carvajal" userId="c61208ed-cfc9-41db-b98e-8ca1e81cbf8a" providerId="ADAL" clId="{460B01F5-D0D7-4F46-BDC5-EE5905768D06}" dt="2022-08-10T14:59:00.236" v="11284" actId="14100"/>
          <ac:picMkLst>
            <pc:docMk/>
            <pc:sldMk cId="2951470416" sldId="336"/>
            <ac:picMk id="13" creationId="{6D4B988B-A1F1-4A7F-9B5B-B10DE6816068}"/>
          </ac:picMkLst>
        </pc:picChg>
      </pc:sldChg>
      <pc:sldChg chg="add del">
        <pc:chgData name="Daniel Esteban Ortiz Carvajal" userId="c61208ed-cfc9-41db-b98e-8ca1e81cbf8a" providerId="ADAL" clId="{460B01F5-D0D7-4F46-BDC5-EE5905768D06}" dt="2022-08-10T14:58:13.467" v="11268" actId="47"/>
        <pc:sldMkLst>
          <pc:docMk/>
          <pc:sldMk cId="1396875284" sldId="337"/>
        </pc:sldMkLst>
      </pc:sldChg>
      <pc:sldMasterChg chg="addSp modSp mod modSldLayout">
        <pc:chgData name="Daniel Esteban Ortiz Carvajal" userId="c61208ed-cfc9-41db-b98e-8ca1e81cbf8a" providerId="ADAL" clId="{460B01F5-D0D7-4F46-BDC5-EE5905768D06}" dt="2022-08-09T19:52:21.456" v="8462" actId="1076"/>
        <pc:sldMasterMkLst>
          <pc:docMk/>
          <pc:sldMasterMk cId="2546407544" sldId="2147483716"/>
        </pc:sldMasterMkLst>
        <pc:spChg chg="mod">
          <ac:chgData name="Daniel Esteban Ortiz Carvajal" userId="c61208ed-cfc9-41db-b98e-8ca1e81cbf8a" providerId="ADAL" clId="{460B01F5-D0D7-4F46-BDC5-EE5905768D06}" dt="2022-08-09T19:52:14.626" v="6632" actId="947"/>
          <ac:spMkLst>
            <pc:docMk/>
            <pc:sldMasterMk cId="2546407544" sldId="2147483716"/>
            <ac:spMk id="2" creationId="{75307A78-1097-4B24-9E3B-B2AA138CF756}"/>
          </ac:spMkLst>
        </pc:spChg>
        <pc:spChg chg="mod">
          <ac:chgData name="Daniel Esteban Ortiz Carvajal" userId="c61208ed-cfc9-41db-b98e-8ca1e81cbf8a" providerId="ADAL" clId="{460B01F5-D0D7-4F46-BDC5-EE5905768D06}" dt="2022-08-09T19:52:14.610" v="6624" actId="947"/>
          <ac:spMkLst>
            <pc:docMk/>
            <pc:sldMasterMk cId="2546407544" sldId="2147483716"/>
            <ac:spMk id="9" creationId="{B11369AB-F488-4D95-A632-141EEFCB65B9}"/>
          </ac:spMkLst>
        </pc:spChg>
        <pc:spChg chg="mod">
          <ac:chgData name="Daniel Esteban Ortiz Carvajal" userId="c61208ed-cfc9-41db-b98e-8ca1e81cbf8a" providerId="ADAL" clId="{460B01F5-D0D7-4F46-BDC5-EE5905768D06}" dt="2022-08-09T19:52:14.615" v="6626" actId="947"/>
          <ac:spMkLst>
            <pc:docMk/>
            <pc:sldMasterMk cId="2546407544" sldId="2147483716"/>
            <ac:spMk id="11" creationId="{CC5DCE90-7B71-4A73-8DEA-50DB65C76285}"/>
          </ac:spMkLst>
        </pc:spChg>
        <pc:spChg chg="mod">
          <ac:chgData name="Daniel Esteban Ortiz Carvajal" userId="c61208ed-cfc9-41db-b98e-8ca1e81cbf8a" providerId="ADAL" clId="{460B01F5-D0D7-4F46-BDC5-EE5905768D06}" dt="2022-08-09T19:52:14.615" v="6628" actId="947"/>
          <ac:spMkLst>
            <pc:docMk/>
            <pc:sldMasterMk cId="2546407544" sldId="2147483716"/>
            <ac:spMk id="12" creationId="{E0CBBA5E-32F6-455E-BE38-533C8C0C2DAE}"/>
          </ac:spMkLst>
        </pc:spChg>
        <pc:spChg chg="mod">
          <ac:chgData name="Daniel Esteban Ortiz Carvajal" userId="c61208ed-cfc9-41db-b98e-8ca1e81cbf8a" providerId="ADAL" clId="{460B01F5-D0D7-4F46-BDC5-EE5905768D06}" dt="2022-08-09T19:52:14.626" v="6630" actId="947"/>
          <ac:spMkLst>
            <pc:docMk/>
            <pc:sldMasterMk cId="2546407544" sldId="2147483716"/>
            <ac:spMk id="13" creationId="{074C98FD-50BA-4C2D-9C88-F2D7B3ED5F6B}"/>
          </ac:spMkLst>
        </pc:spChg>
        <pc:spChg chg="mod">
          <ac:chgData name="Daniel Esteban Ortiz Carvajal" userId="c61208ed-cfc9-41db-b98e-8ca1e81cbf8a" providerId="ADAL" clId="{460B01F5-D0D7-4F46-BDC5-EE5905768D06}" dt="2022-08-09T19:52:14.626" v="6634" actId="947"/>
          <ac:spMkLst>
            <pc:docMk/>
            <pc:sldMasterMk cId="2546407544" sldId="2147483716"/>
            <ac:spMk id="15" creationId="{C98C07C9-FB85-4201-AEF1-02F32CFE27BC}"/>
          </ac:spMkLst>
        </pc:spChg>
        <pc:graphicFrameChg chg="add mod ord modVis replST">
          <ac:chgData name="Daniel Esteban Ortiz Carvajal" userId="c61208ed-cfc9-41db-b98e-8ca1e81cbf8a" providerId="ADAL" clId="{460B01F5-D0D7-4F46-BDC5-EE5905768D06}" dt="2022-08-09T19:52:21.456" v="8462" actId="1076"/>
          <ac:graphicFrameMkLst>
            <pc:docMk/>
            <pc:sldMasterMk cId="2546407544" sldId="2147483716"/>
            <ac:graphicFrameMk id="3" creationId="{61759392-D749-4F5E-AB9A-F45E3A0BBE96}"/>
          </ac:graphicFrameMkLst>
        </pc:graphicFrameChg>
        <pc:sldLayoutChg chg="modSp mod">
          <pc:chgData name="Daniel Esteban Ortiz Carvajal" userId="c61208ed-cfc9-41db-b98e-8ca1e81cbf8a" providerId="ADAL" clId="{460B01F5-D0D7-4F46-BDC5-EE5905768D06}" dt="2022-08-09T19:52:21.381" v="8445" actId="1076"/>
          <pc:sldLayoutMkLst>
            <pc:docMk/>
            <pc:sldMasterMk cId="2546407544" sldId="2147483716"/>
            <pc:sldLayoutMk cId="4294637249" sldId="2147483717"/>
          </pc:sldLayoutMkLst>
          <pc:spChg chg="mod">
            <ac:chgData name="Daniel Esteban Ortiz Carvajal" userId="c61208ed-cfc9-41db-b98e-8ca1e81cbf8a" providerId="ADAL" clId="{460B01F5-D0D7-4F46-BDC5-EE5905768D06}" dt="2022-08-09T19:52:17.796" v="7597" actId="948"/>
            <ac:spMkLst>
              <pc:docMk/>
              <pc:sldMasterMk cId="2546407544" sldId="2147483716"/>
              <pc:sldLayoutMk cId="4294637249" sldId="2147483717"/>
              <ac:spMk id="3" creationId="{00000000-0000-0000-0000-000000000000}"/>
            </ac:spMkLst>
          </pc:spChg>
          <pc:spChg chg="mod">
            <ac:chgData name="Daniel Esteban Ortiz Carvajal" userId="c61208ed-cfc9-41db-b98e-8ca1e81cbf8a" providerId="ADAL" clId="{460B01F5-D0D7-4F46-BDC5-EE5905768D06}" dt="2022-08-09T19:52:14.641" v="6636" actId="790"/>
            <ac:spMkLst>
              <pc:docMk/>
              <pc:sldMasterMk cId="2546407544" sldId="2147483716"/>
              <pc:sldLayoutMk cId="4294637249" sldId="2147483717"/>
              <ac:spMk id="7" creationId="{A59AAB0E-FF1A-46D0-92FA-24F4C3230641}"/>
            </ac:spMkLst>
          </pc:spChg>
          <pc:spChg chg="mod">
            <ac:chgData name="Daniel Esteban Ortiz Carvajal" userId="c61208ed-cfc9-41db-b98e-8ca1e81cbf8a" providerId="ADAL" clId="{460B01F5-D0D7-4F46-BDC5-EE5905768D06}" dt="2022-08-09T19:52:14.645" v="6638" actId="947"/>
            <ac:spMkLst>
              <pc:docMk/>
              <pc:sldMasterMk cId="2546407544" sldId="2147483716"/>
              <pc:sldLayoutMk cId="4294637249" sldId="2147483717"/>
              <ac:spMk id="10" creationId="{0379DE25-8C83-4534-B8E6-4F0F95EC54D0}"/>
            </ac:spMkLst>
          </pc:spChg>
          <pc:spChg chg="mod">
            <ac:chgData name="Daniel Esteban Ortiz Carvajal" userId="c61208ed-cfc9-41db-b98e-8ca1e81cbf8a" providerId="ADAL" clId="{460B01F5-D0D7-4F46-BDC5-EE5905768D06}" dt="2022-08-09T19:52:14.645" v="6640" actId="947"/>
            <ac:spMkLst>
              <pc:docMk/>
              <pc:sldMasterMk cId="2546407544" sldId="2147483716"/>
              <pc:sldLayoutMk cId="4294637249" sldId="2147483717"/>
              <ac:spMk id="11" creationId="{EAAE7DFB-B52E-45C3-A5E1-038C05FD3878}"/>
            </ac:spMkLst>
          </pc:spChg>
          <pc:spChg chg="mod">
            <ac:chgData name="Daniel Esteban Ortiz Carvajal" userId="c61208ed-cfc9-41db-b98e-8ca1e81cbf8a" providerId="ADAL" clId="{460B01F5-D0D7-4F46-BDC5-EE5905768D06}" dt="2022-08-09T19:52:14.655" v="6642" actId="947"/>
            <ac:spMkLst>
              <pc:docMk/>
              <pc:sldMasterMk cId="2546407544" sldId="2147483716"/>
              <pc:sldLayoutMk cId="4294637249" sldId="2147483717"/>
              <ac:spMk id="12" creationId="{737E4B51-4D9A-4F2C-BA28-148F5D4FFACD}"/>
            </ac:spMkLst>
          </pc:spChg>
          <pc:spChg chg="mod">
            <ac:chgData name="Daniel Esteban Ortiz Carvajal" userId="c61208ed-cfc9-41db-b98e-8ca1e81cbf8a" providerId="ADAL" clId="{460B01F5-D0D7-4F46-BDC5-EE5905768D06}" dt="2022-08-09T19:52:14.655" v="6644" actId="947"/>
            <ac:spMkLst>
              <pc:docMk/>
              <pc:sldMasterMk cId="2546407544" sldId="2147483716"/>
              <pc:sldLayoutMk cId="4294637249" sldId="2147483717"/>
              <ac:spMk id="13" creationId="{9BF335E9-83B1-487C-8F60-43EB86A6E499}"/>
            </ac:spMkLst>
          </pc:spChg>
          <pc:spChg chg="mod">
            <ac:chgData name="Daniel Esteban Ortiz Carvajal" userId="c61208ed-cfc9-41db-b98e-8ca1e81cbf8a" providerId="ADAL" clId="{460B01F5-D0D7-4F46-BDC5-EE5905768D06}" dt="2022-08-09T19:52:14.655" v="6646" actId="947"/>
            <ac:spMkLst>
              <pc:docMk/>
              <pc:sldMasterMk cId="2546407544" sldId="2147483716"/>
              <pc:sldLayoutMk cId="4294637249" sldId="2147483717"/>
              <ac:spMk id="14" creationId="{D35228B6-DD05-4EFC-BD4C-F018DFC6CEB4}"/>
            </ac:spMkLst>
          </pc:spChg>
          <pc:spChg chg="mod">
            <ac:chgData name="Daniel Esteban Ortiz Carvajal" userId="c61208ed-cfc9-41db-b98e-8ca1e81cbf8a" providerId="ADAL" clId="{460B01F5-D0D7-4F46-BDC5-EE5905768D06}" dt="2022-08-09T19:52:14.675" v="6653" actId="790"/>
            <ac:spMkLst>
              <pc:docMk/>
              <pc:sldMasterMk cId="2546407544" sldId="2147483716"/>
              <pc:sldLayoutMk cId="4294637249" sldId="2147483717"/>
              <ac:spMk id="15" creationId="{94F163AE-5DF9-45FA-B585-D62405F334B5}"/>
            </ac:spMkLst>
          </pc:spChg>
          <pc:spChg chg="mod">
            <ac:chgData name="Daniel Esteban Ortiz Carvajal" userId="c61208ed-cfc9-41db-b98e-8ca1e81cbf8a" providerId="ADAL" clId="{460B01F5-D0D7-4F46-BDC5-EE5905768D06}" dt="2022-08-09T19:52:14.670" v="6650" actId="20577"/>
            <ac:spMkLst>
              <pc:docMk/>
              <pc:sldMasterMk cId="2546407544" sldId="2147483716"/>
              <pc:sldLayoutMk cId="4294637249" sldId="2147483717"/>
              <ac:spMk id="19" creationId="{EB0CD403-C950-48B5-9B83-14BC172626E9}"/>
            </ac:spMkLst>
          </pc:spChg>
          <pc:spChg chg="mod">
            <ac:chgData name="Daniel Esteban Ortiz Carvajal" userId="c61208ed-cfc9-41db-b98e-8ca1e81cbf8a" providerId="ADAL" clId="{460B01F5-D0D7-4F46-BDC5-EE5905768D06}" dt="2022-08-09T19:52:14.675" v="6652" actId="947"/>
            <ac:spMkLst>
              <pc:docMk/>
              <pc:sldMasterMk cId="2546407544" sldId="2147483716"/>
              <pc:sldLayoutMk cId="4294637249" sldId="2147483717"/>
              <ac:spMk id="20" creationId="{19A0A35F-6EEE-4110-B64B-2AF0B65F95DD}"/>
            </ac:spMkLst>
          </pc:spChg>
          <pc:graphicFrameChg chg="mod ord modVis replST">
            <ac:chgData name="Daniel Esteban Ortiz Carvajal" userId="c61208ed-cfc9-41db-b98e-8ca1e81cbf8a" providerId="ADAL" clId="{460B01F5-D0D7-4F46-BDC5-EE5905768D06}" dt="2022-08-09T19:52:21.381" v="8445" actId="1076"/>
            <ac:graphicFrameMkLst>
              <pc:docMk/>
              <pc:sldMasterMk cId="2546407544" sldId="2147483716"/>
              <pc:sldLayoutMk cId="4294637249" sldId="2147483717"/>
              <ac:graphicFrameMk id="2" creationId="{68DB593C-11BC-4F15-90D6-5A3450E0C0F6}"/>
            </ac:graphicFrameMkLst>
          </pc:graphicFrameChg>
        </pc:sldLayoutChg>
        <pc:sldLayoutChg chg="modSp mod">
          <pc:chgData name="Daniel Esteban Ortiz Carvajal" userId="c61208ed-cfc9-41db-b98e-8ca1e81cbf8a" providerId="ADAL" clId="{460B01F5-D0D7-4F46-BDC5-EE5905768D06}" dt="2022-08-09T19:52:21.416" v="8453" actId="1076"/>
          <pc:sldLayoutMkLst>
            <pc:docMk/>
            <pc:sldMasterMk cId="2546407544" sldId="2147483716"/>
            <pc:sldLayoutMk cId="4062877933" sldId="2147483718"/>
          </pc:sldLayoutMkLst>
          <pc:spChg chg="mod">
            <ac:chgData name="Daniel Esteban Ortiz Carvajal" userId="c61208ed-cfc9-41db-b98e-8ca1e81cbf8a" providerId="ADAL" clId="{460B01F5-D0D7-4F46-BDC5-EE5905768D06}" dt="2022-08-09T19:52:17.811" v="7598" actId="948"/>
            <ac:spMkLst>
              <pc:docMk/>
              <pc:sldMasterMk cId="2546407544" sldId="2147483716"/>
              <pc:sldLayoutMk cId="4062877933" sldId="2147483718"/>
              <ac:spMk id="3" creationId="{00000000-0000-0000-0000-000000000000}"/>
            </ac:spMkLst>
          </pc:spChg>
          <pc:spChg chg="mod">
            <ac:chgData name="Daniel Esteban Ortiz Carvajal" userId="c61208ed-cfc9-41db-b98e-8ca1e81cbf8a" providerId="ADAL" clId="{460B01F5-D0D7-4F46-BDC5-EE5905768D06}" dt="2022-08-09T19:52:14.686" v="6655" actId="790"/>
            <ac:spMkLst>
              <pc:docMk/>
              <pc:sldMasterMk cId="2546407544" sldId="2147483716"/>
              <pc:sldLayoutMk cId="4062877933" sldId="2147483718"/>
              <ac:spMk id="7" creationId="{A59AAB0E-FF1A-46D0-92FA-24F4C3230641}"/>
            </ac:spMkLst>
          </pc:spChg>
          <pc:spChg chg="mod">
            <ac:chgData name="Daniel Esteban Ortiz Carvajal" userId="c61208ed-cfc9-41db-b98e-8ca1e81cbf8a" providerId="ADAL" clId="{460B01F5-D0D7-4F46-BDC5-EE5905768D06}" dt="2022-08-09T19:52:14.686" v="6657" actId="947"/>
            <ac:spMkLst>
              <pc:docMk/>
              <pc:sldMasterMk cId="2546407544" sldId="2147483716"/>
              <pc:sldLayoutMk cId="4062877933" sldId="2147483718"/>
              <ac:spMk id="10" creationId="{0379DE25-8C83-4534-B8E6-4F0F95EC54D0}"/>
            </ac:spMkLst>
          </pc:spChg>
          <pc:spChg chg="mod">
            <ac:chgData name="Daniel Esteban Ortiz Carvajal" userId="c61208ed-cfc9-41db-b98e-8ca1e81cbf8a" providerId="ADAL" clId="{460B01F5-D0D7-4F46-BDC5-EE5905768D06}" dt="2022-08-09T19:52:14.695" v="6659" actId="947"/>
            <ac:spMkLst>
              <pc:docMk/>
              <pc:sldMasterMk cId="2546407544" sldId="2147483716"/>
              <pc:sldLayoutMk cId="4062877933" sldId="2147483718"/>
              <ac:spMk id="12" creationId="{737E4B51-4D9A-4F2C-BA28-148F5D4FFACD}"/>
            </ac:spMkLst>
          </pc:spChg>
          <pc:spChg chg="mod">
            <ac:chgData name="Daniel Esteban Ortiz Carvajal" userId="c61208ed-cfc9-41db-b98e-8ca1e81cbf8a" providerId="ADAL" clId="{460B01F5-D0D7-4F46-BDC5-EE5905768D06}" dt="2022-08-09T19:52:14.695" v="6661" actId="947"/>
            <ac:spMkLst>
              <pc:docMk/>
              <pc:sldMasterMk cId="2546407544" sldId="2147483716"/>
              <pc:sldLayoutMk cId="4062877933" sldId="2147483718"/>
              <ac:spMk id="13" creationId="{9BF335E9-83B1-487C-8F60-43EB86A6E499}"/>
            </ac:spMkLst>
          </pc:spChg>
          <pc:spChg chg="mod">
            <ac:chgData name="Daniel Esteban Ortiz Carvajal" userId="c61208ed-cfc9-41db-b98e-8ca1e81cbf8a" providerId="ADAL" clId="{460B01F5-D0D7-4F46-BDC5-EE5905768D06}" dt="2022-08-09T19:52:14.706" v="6663" actId="947"/>
            <ac:spMkLst>
              <pc:docMk/>
              <pc:sldMasterMk cId="2546407544" sldId="2147483716"/>
              <pc:sldLayoutMk cId="4062877933" sldId="2147483718"/>
              <ac:spMk id="14" creationId="{D35228B6-DD05-4EFC-BD4C-F018DFC6CEB4}"/>
            </ac:spMkLst>
          </pc:spChg>
          <pc:spChg chg="mod">
            <ac:chgData name="Daniel Esteban Ortiz Carvajal" userId="c61208ed-cfc9-41db-b98e-8ca1e81cbf8a" providerId="ADAL" clId="{460B01F5-D0D7-4F46-BDC5-EE5905768D06}" dt="2022-08-09T19:52:14.725" v="6674" actId="790"/>
            <ac:spMkLst>
              <pc:docMk/>
              <pc:sldMasterMk cId="2546407544" sldId="2147483716"/>
              <pc:sldLayoutMk cId="4062877933" sldId="2147483718"/>
              <ac:spMk id="15" creationId="{E811B309-37EF-48B0-92F9-1AA7265DA4E7}"/>
            </ac:spMkLst>
          </pc:spChg>
          <pc:spChg chg="mod">
            <ac:chgData name="Daniel Esteban Ortiz Carvajal" userId="c61208ed-cfc9-41db-b98e-8ca1e81cbf8a" providerId="ADAL" clId="{460B01F5-D0D7-4F46-BDC5-EE5905768D06}" dt="2022-08-09T19:52:14.706" v="6667" actId="20577"/>
            <ac:spMkLst>
              <pc:docMk/>
              <pc:sldMasterMk cId="2546407544" sldId="2147483716"/>
              <pc:sldLayoutMk cId="4062877933" sldId="2147483718"/>
              <ac:spMk id="17" creationId="{164DE77B-04FF-4E09-B0AC-474F4A354143}"/>
            </ac:spMkLst>
          </pc:spChg>
          <pc:spChg chg="mod">
            <ac:chgData name="Daniel Esteban Ortiz Carvajal" userId="c61208ed-cfc9-41db-b98e-8ca1e81cbf8a" providerId="ADAL" clId="{460B01F5-D0D7-4F46-BDC5-EE5905768D06}" dt="2022-08-09T19:52:14.715" v="6671" actId="20577"/>
            <ac:spMkLst>
              <pc:docMk/>
              <pc:sldMasterMk cId="2546407544" sldId="2147483716"/>
              <pc:sldLayoutMk cId="4062877933" sldId="2147483718"/>
              <ac:spMk id="20" creationId="{7F15BFCC-702B-4419-89F3-17A25A73AB79}"/>
            </ac:spMkLst>
          </pc:spChg>
          <pc:spChg chg="mod">
            <ac:chgData name="Daniel Esteban Ortiz Carvajal" userId="c61208ed-cfc9-41db-b98e-8ca1e81cbf8a" providerId="ADAL" clId="{460B01F5-D0D7-4F46-BDC5-EE5905768D06}" dt="2022-08-09T19:52:14.725" v="6673" actId="947"/>
            <ac:spMkLst>
              <pc:docMk/>
              <pc:sldMasterMk cId="2546407544" sldId="2147483716"/>
              <pc:sldLayoutMk cId="4062877933" sldId="2147483718"/>
              <ac:spMk id="21" creationId="{0F6194EB-0490-4B02-8B1D-877AE3264BEF}"/>
            </ac:spMkLst>
          </pc:spChg>
          <pc:graphicFrameChg chg="mod ord modVis replST">
            <ac:chgData name="Daniel Esteban Ortiz Carvajal" userId="c61208ed-cfc9-41db-b98e-8ca1e81cbf8a" providerId="ADAL" clId="{460B01F5-D0D7-4F46-BDC5-EE5905768D06}" dt="2022-08-09T19:52:21.416" v="8453" actId="1076"/>
            <ac:graphicFrameMkLst>
              <pc:docMk/>
              <pc:sldMasterMk cId="2546407544" sldId="2147483716"/>
              <pc:sldLayoutMk cId="4062877933" sldId="2147483718"/>
              <ac:graphicFrameMk id="2" creationId="{CEFD5670-0F6B-4120-AA51-2223A903C8C0}"/>
            </ac:graphicFrameMkLst>
          </pc:graphicFrameChg>
        </pc:sldLayoutChg>
        <pc:sldLayoutChg chg="modSp mod">
          <pc:chgData name="Daniel Esteban Ortiz Carvajal" userId="c61208ed-cfc9-41db-b98e-8ca1e81cbf8a" providerId="ADAL" clId="{460B01F5-D0D7-4F46-BDC5-EE5905768D06}" dt="2022-08-09T19:52:20.656" v="8300" actId="1076"/>
          <pc:sldLayoutMkLst>
            <pc:docMk/>
            <pc:sldMasterMk cId="2546407544" sldId="2147483716"/>
            <pc:sldLayoutMk cId="2343653361" sldId="2147483719"/>
          </pc:sldLayoutMkLst>
          <pc:spChg chg="mod">
            <ac:chgData name="Daniel Esteban Ortiz Carvajal" userId="c61208ed-cfc9-41db-b98e-8ca1e81cbf8a" providerId="ADAL" clId="{460B01F5-D0D7-4F46-BDC5-EE5905768D06}" dt="2022-08-09T19:52:14.765" v="6691" actId="20577"/>
            <ac:spMkLst>
              <pc:docMk/>
              <pc:sldMasterMk cId="2546407544" sldId="2147483716"/>
              <pc:sldLayoutMk cId="2343653361" sldId="2147483719"/>
              <ac:spMk id="2" creationId="{43BB903B-30AC-411C-8452-796CEBCA5CA3}"/>
            </ac:spMkLst>
          </pc:spChg>
          <pc:spChg chg="mod">
            <ac:chgData name="Daniel Esteban Ortiz Carvajal" userId="c61208ed-cfc9-41db-b98e-8ca1e81cbf8a" providerId="ADAL" clId="{460B01F5-D0D7-4F46-BDC5-EE5905768D06}" dt="2022-08-09T19:52:17.746" v="7596" actId="948"/>
            <ac:spMkLst>
              <pc:docMk/>
              <pc:sldMasterMk cId="2546407544" sldId="2147483716"/>
              <pc:sldLayoutMk cId="2343653361" sldId="2147483719"/>
              <ac:spMk id="3" creationId="{00000000-0000-0000-0000-000000000000}"/>
            </ac:spMkLst>
          </pc:spChg>
          <pc:spChg chg="mod">
            <ac:chgData name="Daniel Esteban Ortiz Carvajal" userId="c61208ed-cfc9-41db-b98e-8ca1e81cbf8a" providerId="ADAL" clId="{460B01F5-D0D7-4F46-BDC5-EE5905768D06}" dt="2022-08-09T19:52:14.741" v="6677" actId="947"/>
            <ac:spMkLst>
              <pc:docMk/>
              <pc:sldMasterMk cId="2546407544" sldId="2147483716"/>
              <pc:sldLayoutMk cId="2343653361" sldId="2147483719"/>
              <ac:spMk id="10" creationId="{0379DE25-8C83-4534-B8E6-4F0F95EC54D0}"/>
            </ac:spMkLst>
          </pc:spChg>
          <pc:spChg chg="mod">
            <ac:chgData name="Daniel Esteban Ortiz Carvajal" userId="c61208ed-cfc9-41db-b98e-8ca1e81cbf8a" providerId="ADAL" clId="{460B01F5-D0D7-4F46-BDC5-EE5905768D06}" dt="2022-08-09T19:52:14.745" v="6679" actId="947"/>
            <ac:spMkLst>
              <pc:docMk/>
              <pc:sldMasterMk cId="2546407544" sldId="2147483716"/>
              <pc:sldLayoutMk cId="2343653361" sldId="2147483719"/>
              <ac:spMk id="12" creationId="{737E4B51-4D9A-4F2C-BA28-148F5D4FFACD}"/>
            </ac:spMkLst>
          </pc:spChg>
          <pc:spChg chg="mod">
            <ac:chgData name="Daniel Esteban Ortiz Carvajal" userId="c61208ed-cfc9-41db-b98e-8ca1e81cbf8a" providerId="ADAL" clId="{460B01F5-D0D7-4F46-BDC5-EE5905768D06}" dt="2022-08-09T19:52:14.745" v="6681" actId="947"/>
            <ac:spMkLst>
              <pc:docMk/>
              <pc:sldMasterMk cId="2546407544" sldId="2147483716"/>
              <pc:sldLayoutMk cId="2343653361" sldId="2147483719"/>
              <ac:spMk id="13" creationId="{9BF335E9-83B1-487C-8F60-43EB86A6E499}"/>
            </ac:spMkLst>
          </pc:spChg>
          <pc:spChg chg="mod">
            <ac:chgData name="Daniel Esteban Ortiz Carvajal" userId="c61208ed-cfc9-41db-b98e-8ca1e81cbf8a" providerId="ADAL" clId="{460B01F5-D0D7-4F46-BDC5-EE5905768D06}" dt="2022-08-09T19:52:14.745" v="6683" actId="947"/>
            <ac:spMkLst>
              <pc:docMk/>
              <pc:sldMasterMk cId="2546407544" sldId="2147483716"/>
              <pc:sldLayoutMk cId="2343653361" sldId="2147483719"/>
              <ac:spMk id="14" creationId="{D35228B6-DD05-4EFC-BD4C-F018DFC6CEB4}"/>
            </ac:spMkLst>
          </pc:spChg>
          <pc:spChg chg="mod">
            <ac:chgData name="Daniel Esteban Ortiz Carvajal" userId="c61208ed-cfc9-41db-b98e-8ca1e81cbf8a" providerId="ADAL" clId="{460B01F5-D0D7-4F46-BDC5-EE5905768D06}" dt="2022-08-09T19:52:14.755" v="6687" actId="20577"/>
            <ac:spMkLst>
              <pc:docMk/>
              <pc:sldMasterMk cId="2546407544" sldId="2147483716"/>
              <pc:sldLayoutMk cId="2343653361" sldId="2147483719"/>
              <ac:spMk id="15" creationId="{9FC2BFE4-D3D9-453D-94E9-18B5CF11D4C2}"/>
            </ac:spMkLst>
          </pc:spChg>
          <pc:spChg chg="mod">
            <ac:chgData name="Daniel Esteban Ortiz Carvajal" userId="c61208ed-cfc9-41db-b98e-8ca1e81cbf8a" providerId="ADAL" clId="{460B01F5-D0D7-4F46-BDC5-EE5905768D06}" dt="2022-08-09T19:52:14.775" v="6695" actId="20577"/>
            <ac:spMkLst>
              <pc:docMk/>
              <pc:sldMasterMk cId="2546407544" sldId="2147483716"/>
              <pc:sldLayoutMk cId="2343653361" sldId="2147483719"/>
              <ac:spMk id="16" creationId="{F2E0EC24-664D-4530-AFB1-A2452967DBEF}"/>
            </ac:spMkLst>
          </pc:spChg>
          <pc:spChg chg="mod">
            <ac:chgData name="Daniel Esteban Ortiz Carvajal" userId="c61208ed-cfc9-41db-b98e-8ca1e81cbf8a" providerId="ADAL" clId="{460B01F5-D0D7-4F46-BDC5-EE5905768D06}" dt="2022-08-09T19:52:14.775" v="6696" actId="790"/>
            <ac:spMkLst>
              <pc:docMk/>
              <pc:sldMasterMk cId="2546407544" sldId="2147483716"/>
              <pc:sldLayoutMk cId="2343653361" sldId="2147483719"/>
              <ac:spMk id="17" creationId="{6009D204-408C-4DF9-839E-18F561DE5865}"/>
            </ac:spMkLst>
          </pc:spChg>
          <pc:graphicFrameChg chg="mod ord modVis replST">
            <ac:chgData name="Daniel Esteban Ortiz Carvajal" userId="c61208ed-cfc9-41db-b98e-8ca1e81cbf8a" providerId="ADAL" clId="{460B01F5-D0D7-4F46-BDC5-EE5905768D06}" dt="2022-08-09T19:52:20.656" v="8300" actId="1076"/>
            <ac:graphicFrameMkLst>
              <pc:docMk/>
              <pc:sldMasterMk cId="2546407544" sldId="2147483716"/>
              <pc:sldLayoutMk cId="2343653361" sldId="2147483719"/>
              <ac:graphicFrameMk id="4" creationId="{1083AD54-6C16-4930-89F1-1CDF4B6348A1}"/>
            </ac:graphicFrameMkLst>
          </pc:graphicFrameChg>
        </pc:sldLayoutChg>
        <pc:sldLayoutChg chg="modSp mod">
          <pc:chgData name="Daniel Esteban Ortiz Carvajal" userId="c61208ed-cfc9-41db-b98e-8ca1e81cbf8a" providerId="ADAL" clId="{460B01F5-D0D7-4F46-BDC5-EE5905768D06}" dt="2022-08-09T19:52:20.554" v="8282" actId="1076"/>
          <pc:sldLayoutMkLst>
            <pc:docMk/>
            <pc:sldMasterMk cId="2546407544" sldId="2147483716"/>
            <pc:sldLayoutMk cId="3172898654" sldId="2147483720"/>
          </pc:sldLayoutMkLst>
          <pc:spChg chg="mod">
            <ac:chgData name="Daniel Esteban Ortiz Carvajal" userId="c61208ed-cfc9-41db-b98e-8ca1e81cbf8a" providerId="ADAL" clId="{460B01F5-D0D7-4F46-BDC5-EE5905768D06}" dt="2022-08-09T19:52:14.826" v="6714" actId="20577"/>
            <ac:spMkLst>
              <pc:docMk/>
              <pc:sldMasterMk cId="2546407544" sldId="2147483716"/>
              <pc:sldLayoutMk cId="3172898654" sldId="2147483720"/>
              <ac:spMk id="2" creationId="{43BB903B-30AC-411C-8452-796CEBCA5CA3}"/>
            </ac:spMkLst>
          </pc:spChg>
          <pc:spChg chg="mod">
            <ac:chgData name="Daniel Esteban Ortiz Carvajal" userId="c61208ed-cfc9-41db-b98e-8ca1e81cbf8a" providerId="ADAL" clId="{460B01F5-D0D7-4F46-BDC5-EE5905768D06}" dt="2022-08-09T19:52:17.733" v="7595" actId="948"/>
            <ac:spMkLst>
              <pc:docMk/>
              <pc:sldMasterMk cId="2546407544" sldId="2147483716"/>
              <pc:sldLayoutMk cId="3172898654" sldId="2147483720"/>
              <ac:spMk id="3" creationId="{00000000-0000-0000-0000-000000000000}"/>
            </ac:spMkLst>
          </pc:spChg>
          <pc:spChg chg="mod">
            <ac:chgData name="Daniel Esteban Ortiz Carvajal" userId="c61208ed-cfc9-41db-b98e-8ca1e81cbf8a" providerId="ADAL" clId="{460B01F5-D0D7-4F46-BDC5-EE5905768D06}" dt="2022-08-09T19:52:14.791" v="6698" actId="790"/>
            <ac:spMkLst>
              <pc:docMk/>
              <pc:sldMasterMk cId="2546407544" sldId="2147483716"/>
              <pc:sldLayoutMk cId="3172898654" sldId="2147483720"/>
              <ac:spMk id="7" creationId="{A59AAB0E-FF1A-46D0-92FA-24F4C3230641}"/>
            </ac:spMkLst>
          </pc:spChg>
          <pc:spChg chg="mod">
            <ac:chgData name="Daniel Esteban Ortiz Carvajal" userId="c61208ed-cfc9-41db-b98e-8ca1e81cbf8a" providerId="ADAL" clId="{460B01F5-D0D7-4F46-BDC5-EE5905768D06}" dt="2022-08-09T19:52:14.796" v="6700" actId="947"/>
            <ac:spMkLst>
              <pc:docMk/>
              <pc:sldMasterMk cId="2546407544" sldId="2147483716"/>
              <pc:sldLayoutMk cId="3172898654" sldId="2147483720"/>
              <ac:spMk id="10" creationId="{0379DE25-8C83-4534-B8E6-4F0F95EC54D0}"/>
            </ac:spMkLst>
          </pc:spChg>
          <pc:spChg chg="mod">
            <ac:chgData name="Daniel Esteban Ortiz Carvajal" userId="c61208ed-cfc9-41db-b98e-8ca1e81cbf8a" providerId="ADAL" clId="{460B01F5-D0D7-4F46-BDC5-EE5905768D06}" dt="2022-08-09T19:52:14.796" v="6702" actId="947"/>
            <ac:spMkLst>
              <pc:docMk/>
              <pc:sldMasterMk cId="2546407544" sldId="2147483716"/>
              <pc:sldLayoutMk cId="3172898654" sldId="2147483720"/>
              <ac:spMk id="12" creationId="{737E4B51-4D9A-4F2C-BA28-148F5D4FFACD}"/>
            </ac:spMkLst>
          </pc:spChg>
          <pc:spChg chg="mod">
            <ac:chgData name="Daniel Esteban Ortiz Carvajal" userId="c61208ed-cfc9-41db-b98e-8ca1e81cbf8a" providerId="ADAL" clId="{460B01F5-D0D7-4F46-BDC5-EE5905768D06}" dt="2022-08-09T19:52:14.806" v="6704" actId="947"/>
            <ac:spMkLst>
              <pc:docMk/>
              <pc:sldMasterMk cId="2546407544" sldId="2147483716"/>
              <pc:sldLayoutMk cId="3172898654" sldId="2147483720"/>
              <ac:spMk id="13" creationId="{9BF335E9-83B1-487C-8F60-43EB86A6E499}"/>
            </ac:spMkLst>
          </pc:spChg>
          <pc:spChg chg="mod">
            <ac:chgData name="Daniel Esteban Ortiz Carvajal" userId="c61208ed-cfc9-41db-b98e-8ca1e81cbf8a" providerId="ADAL" clId="{460B01F5-D0D7-4F46-BDC5-EE5905768D06}" dt="2022-08-09T19:52:14.806" v="6706" actId="947"/>
            <ac:spMkLst>
              <pc:docMk/>
              <pc:sldMasterMk cId="2546407544" sldId="2147483716"/>
              <pc:sldLayoutMk cId="3172898654" sldId="2147483720"/>
              <ac:spMk id="14" creationId="{D35228B6-DD05-4EFC-BD4C-F018DFC6CEB4}"/>
            </ac:spMkLst>
          </pc:spChg>
          <pc:spChg chg="mod">
            <ac:chgData name="Daniel Esteban Ortiz Carvajal" userId="c61208ed-cfc9-41db-b98e-8ca1e81cbf8a" providerId="ADAL" clId="{460B01F5-D0D7-4F46-BDC5-EE5905768D06}" dt="2022-08-09T19:52:14.816" v="6710" actId="20577"/>
            <ac:spMkLst>
              <pc:docMk/>
              <pc:sldMasterMk cId="2546407544" sldId="2147483716"/>
              <pc:sldLayoutMk cId="3172898654" sldId="2147483720"/>
              <ac:spMk id="15" creationId="{9FC2BFE4-D3D9-453D-94E9-18B5CF11D4C2}"/>
            </ac:spMkLst>
          </pc:spChg>
          <pc:spChg chg="mod">
            <ac:chgData name="Daniel Esteban Ortiz Carvajal" userId="c61208ed-cfc9-41db-b98e-8ca1e81cbf8a" providerId="ADAL" clId="{460B01F5-D0D7-4F46-BDC5-EE5905768D06}" dt="2022-08-09T19:52:14.836" v="6718" actId="20577"/>
            <ac:spMkLst>
              <pc:docMk/>
              <pc:sldMasterMk cId="2546407544" sldId="2147483716"/>
              <pc:sldLayoutMk cId="3172898654" sldId="2147483720"/>
              <ac:spMk id="16" creationId="{F2E0EC24-664D-4530-AFB1-A2452967DBEF}"/>
            </ac:spMkLst>
          </pc:spChg>
          <pc:spChg chg="mod">
            <ac:chgData name="Daniel Esteban Ortiz Carvajal" userId="c61208ed-cfc9-41db-b98e-8ca1e81cbf8a" providerId="ADAL" clId="{460B01F5-D0D7-4F46-BDC5-EE5905768D06}" dt="2022-08-09T19:52:14.841" v="6719" actId="790"/>
            <ac:spMkLst>
              <pc:docMk/>
              <pc:sldMasterMk cId="2546407544" sldId="2147483716"/>
              <pc:sldLayoutMk cId="3172898654" sldId="2147483720"/>
              <ac:spMk id="17" creationId="{B16C17C7-B3F4-485C-BE28-BEC7B3D764CF}"/>
            </ac:spMkLst>
          </pc:spChg>
          <pc:graphicFrameChg chg="mod ord modVis replST">
            <ac:chgData name="Daniel Esteban Ortiz Carvajal" userId="c61208ed-cfc9-41db-b98e-8ca1e81cbf8a" providerId="ADAL" clId="{460B01F5-D0D7-4F46-BDC5-EE5905768D06}" dt="2022-08-09T19:52:20.554" v="8282" actId="1076"/>
            <ac:graphicFrameMkLst>
              <pc:docMk/>
              <pc:sldMasterMk cId="2546407544" sldId="2147483716"/>
              <pc:sldLayoutMk cId="3172898654" sldId="2147483720"/>
              <ac:graphicFrameMk id="4" creationId="{18DBF341-D0DC-4E23-BA4F-43864283CD87}"/>
            </ac:graphicFrameMkLst>
          </pc:graphicFrameChg>
        </pc:sldLayoutChg>
      </pc:sldMasterChg>
      <pc:sldMasterChg chg="addSp modSp mod modSldLayout">
        <pc:chgData name="Daniel Esteban Ortiz Carvajal" userId="c61208ed-cfc9-41db-b98e-8ca1e81cbf8a" providerId="ADAL" clId="{460B01F5-D0D7-4F46-BDC5-EE5905768D06}" dt="2022-08-09T19:52:20.726" v="8316" actId="1076"/>
        <pc:sldMasterMkLst>
          <pc:docMk/>
          <pc:sldMasterMk cId="1294353456" sldId="2147483721"/>
        </pc:sldMasterMkLst>
        <pc:spChg chg="mod">
          <ac:chgData name="Daniel Esteban Ortiz Carvajal" userId="c61208ed-cfc9-41db-b98e-8ca1e81cbf8a" providerId="ADAL" clId="{460B01F5-D0D7-4F46-BDC5-EE5905768D06}" dt="2022-08-09T19:52:14.865" v="6729" actId="947"/>
          <ac:spMkLst>
            <pc:docMk/>
            <pc:sldMasterMk cId="1294353456" sldId="2147483721"/>
            <ac:spMk id="2" creationId="{05F92996-6B6F-4C24-A3CE-C0E60AB56ED6}"/>
          </ac:spMkLst>
        </pc:spChg>
        <pc:spChg chg="mod">
          <ac:chgData name="Daniel Esteban Ortiz Carvajal" userId="c61208ed-cfc9-41db-b98e-8ca1e81cbf8a" providerId="ADAL" clId="{460B01F5-D0D7-4F46-BDC5-EE5905768D06}" dt="2022-08-09T19:52:14.865" v="6731" actId="947"/>
          <ac:spMkLst>
            <pc:docMk/>
            <pc:sldMasterMk cId="1294353456" sldId="2147483721"/>
            <ac:spMk id="11" creationId="{FE2AAFBB-C779-4236-BFDF-7919CADD90C0}"/>
          </ac:spMkLst>
        </pc:spChg>
        <pc:spChg chg="mod">
          <ac:chgData name="Daniel Esteban Ortiz Carvajal" userId="c61208ed-cfc9-41db-b98e-8ca1e81cbf8a" providerId="ADAL" clId="{460B01F5-D0D7-4F46-BDC5-EE5905768D06}" dt="2022-08-09T19:52:14.851" v="6721" actId="947"/>
          <ac:spMkLst>
            <pc:docMk/>
            <pc:sldMasterMk cId="1294353456" sldId="2147483721"/>
            <ac:spMk id="20" creationId="{BCD23D04-D0ED-4403-882B-ECDB94527264}"/>
          </ac:spMkLst>
        </pc:spChg>
        <pc:spChg chg="mod">
          <ac:chgData name="Daniel Esteban Ortiz Carvajal" userId="c61208ed-cfc9-41db-b98e-8ca1e81cbf8a" providerId="ADAL" clId="{460B01F5-D0D7-4F46-BDC5-EE5905768D06}" dt="2022-08-09T19:52:14.851" v="6723" actId="947"/>
          <ac:spMkLst>
            <pc:docMk/>
            <pc:sldMasterMk cId="1294353456" sldId="2147483721"/>
            <ac:spMk id="22" creationId="{035E9CD2-898E-4F3F-A48A-BEB3988F6664}"/>
          </ac:spMkLst>
        </pc:spChg>
        <pc:spChg chg="mod">
          <ac:chgData name="Daniel Esteban Ortiz Carvajal" userId="c61208ed-cfc9-41db-b98e-8ca1e81cbf8a" providerId="ADAL" clId="{460B01F5-D0D7-4F46-BDC5-EE5905768D06}" dt="2022-08-09T19:52:14.856" v="6725" actId="947"/>
          <ac:spMkLst>
            <pc:docMk/>
            <pc:sldMasterMk cId="1294353456" sldId="2147483721"/>
            <ac:spMk id="23" creationId="{21523CB1-C61F-4CEC-AF4E-0C60B382C99E}"/>
          </ac:spMkLst>
        </pc:spChg>
        <pc:spChg chg="mod">
          <ac:chgData name="Daniel Esteban Ortiz Carvajal" userId="c61208ed-cfc9-41db-b98e-8ca1e81cbf8a" providerId="ADAL" clId="{460B01F5-D0D7-4F46-BDC5-EE5905768D06}" dt="2022-08-09T19:52:14.856" v="6727" actId="947"/>
          <ac:spMkLst>
            <pc:docMk/>
            <pc:sldMasterMk cId="1294353456" sldId="2147483721"/>
            <ac:spMk id="24" creationId="{F3374D2A-368B-498A-AB91-DC9D772B0184}"/>
          </ac:spMkLst>
        </pc:spChg>
        <pc:graphicFrameChg chg="add mod ord modVis replST">
          <ac:chgData name="Daniel Esteban Ortiz Carvajal" userId="c61208ed-cfc9-41db-b98e-8ca1e81cbf8a" providerId="ADAL" clId="{460B01F5-D0D7-4F46-BDC5-EE5905768D06}" dt="2022-08-09T19:52:20.558" v="8283" actId="1076"/>
          <ac:graphicFrameMkLst>
            <pc:docMk/>
            <pc:sldMasterMk cId="1294353456" sldId="2147483721"/>
            <ac:graphicFrameMk id="3" creationId="{217043E2-7FCF-4BE3-8FC6-59744274BF9F}"/>
          </ac:graphicFrameMkLst>
        </pc:graphicFrameChg>
        <pc:sldLayoutChg chg="modSp mod">
          <pc:chgData name="Daniel Esteban Ortiz Carvajal" userId="c61208ed-cfc9-41db-b98e-8ca1e81cbf8a" providerId="ADAL" clId="{460B01F5-D0D7-4F46-BDC5-EE5905768D06}" dt="2022-08-09T19:52:20.691" v="8308" actId="1076"/>
          <pc:sldLayoutMkLst>
            <pc:docMk/>
            <pc:sldMasterMk cId="1294353456" sldId="2147483721"/>
            <pc:sldLayoutMk cId="3598632700" sldId="2147483722"/>
          </pc:sldLayoutMkLst>
          <pc:spChg chg="mod">
            <ac:chgData name="Daniel Esteban Ortiz Carvajal" userId="c61208ed-cfc9-41db-b98e-8ca1e81cbf8a" providerId="ADAL" clId="{460B01F5-D0D7-4F46-BDC5-EE5905768D06}" dt="2022-08-09T19:52:14.875" v="6735" actId="20577"/>
            <ac:spMkLst>
              <pc:docMk/>
              <pc:sldMasterMk cId="1294353456" sldId="2147483721"/>
              <pc:sldLayoutMk cId="3598632700" sldId="2147483722"/>
              <ac:spMk id="14" creationId="{8A95614E-EAAB-4F15-BC2D-ED271854621D}"/>
            </ac:spMkLst>
          </pc:spChg>
          <pc:spChg chg="mod">
            <ac:chgData name="Daniel Esteban Ortiz Carvajal" userId="c61208ed-cfc9-41db-b98e-8ca1e81cbf8a" providerId="ADAL" clId="{460B01F5-D0D7-4F46-BDC5-EE5905768D06}" dt="2022-08-09T19:52:14.885" v="6739" actId="20577"/>
            <ac:spMkLst>
              <pc:docMk/>
              <pc:sldMasterMk cId="1294353456" sldId="2147483721"/>
              <pc:sldLayoutMk cId="3598632700" sldId="2147483722"/>
              <ac:spMk id="15" creationId="{7F601D30-BF8E-4C08-8FCF-3E4E8876C396}"/>
            </ac:spMkLst>
          </pc:spChg>
          <pc:spChg chg="mod">
            <ac:chgData name="Daniel Esteban Ortiz Carvajal" userId="c61208ed-cfc9-41db-b98e-8ca1e81cbf8a" providerId="ADAL" clId="{460B01F5-D0D7-4F46-BDC5-EE5905768D06}" dt="2022-08-09T19:52:14.890" v="6740" actId="790"/>
            <ac:spMkLst>
              <pc:docMk/>
              <pc:sldMasterMk cId="1294353456" sldId="2147483721"/>
              <pc:sldLayoutMk cId="3598632700" sldId="2147483722"/>
              <ac:spMk id="16" creationId="{CFB48737-0002-450A-99F6-71BFD74F8020}"/>
            </ac:spMkLst>
          </pc:spChg>
          <pc:spChg chg="mod">
            <ac:chgData name="Daniel Esteban Ortiz Carvajal" userId="c61208ed-cfc9-41db-b98e-8ca1e81cbf8a" providerId="ADAL" clId="{460B01F5-D0D7-4F46-BDC5-EE5905768D06}" dt="2022-08-09T19:52:14.896" v="6744" actId="20577"/>
            <ac:spMkLst>
              <pc:docMk/>
              <pc:sldMasterMk cId="1294353456" sldId="2147483721"/>
              <pc:sldLayoutMk cId="3598632700" sldId="2147483722"/>
              <ac:spMk id="17" creationId="{F067F7D8-DEC1-4087-A469-AA038E271603}"/>
            </ac:spMkLst>
          </pc:spChg>
          <pc:spChg chg="mod">
            <ac:chgData name="Daniel Esteban Ortiz Carvajal" userId="c61208ed-cfc9-41db-b98e-8ca1e81cbf8a" providerId="ADAL" clId="{460B01F5-D0D7-4F46-BDC5-EE5905768D06}" dt="2022-08-09T19:52:14.896" v="6745" actId="790"/>
            <ac:spMkLst>
              <pc:docMk/>
              <pc:sldMasterMk cId="1294353456" sldId="2147483721"/>
              <pc:sldLayoutMk cId="3598632700" sldId="2147483722"/>
              <ac:spMk id="18" creationId="{4A6C5FF6-F6B2-4148-99FE-42CB737AC288}"/>
            </ac:spMkLst>
          </pc:spChg>
          <pc:spChg chg="mod">
            <ac:chgData name="Daniel Esteban Ortiz Carvajal" userId="c61208ed-cfc9-41db-b98e-8ca1e81cbf8a" providerId="ADAL" clId="{460B01F5-D0D7-4F46-BDC5-EE5905768D06}" dt="2022-08-09T19:52:14.906" v="6746" actId="790"/>
            <ac:spMkLst>
              <pc:docMk/>
              <pc:sldMasterMk cId="1294353456" sldId="2147483721"/>
              <pc:sldLayoutMk cId="3598632700" sldId="2147483722"/>
              <ac:spMk id="19" creationId="{FDEAA69A-8B6D-4045-A1F4-F15C2E536A0F}"/>
            </ac:spMkLst>
          </pc:spChg>
          <pc:spChg chg="mod">
            <ac:chgData name="Daniel Esteban Ortiz Carvajal" userId="c61208ed-cfc9-41db-b98e-8ca1e81cbf8a" providerId="ADAL" clId="{460B01F5-D0D7-4F46-BDC5-EE5905768D06}" dt="2022-08-09T19:52:14.906" v="6747" actId="790"/>
            <ac:spMkLst>
              <pc:docMk/>
              <pc:sldMasterMk cId="1294353456" sldId="2147483721"/>
              <pc:sldLayoutMk cId="3598632700" sldId="2147483722"/>
              <ac:spMk id="20" creationId="{43C26D4E-CB16-4595-BD4F-1D4CC35D20CB}"/>
            </ac:spMkLst>
          </pc:spChg>
          <pc:spChg chg="mod">
            <ac:chgData name="Daniel Esteban Ortiz Carvajal" userId="c61208ed-cfc9-41db-b98e-8ca1e81cbf8a" providerId="ADAL" clId="{460B01F5-D0D7-4F46-BDC5-EE5905768D06}" dt="2022-08-09T19:52:14.915" v="6748" actId="790"/>
            <ac:spMkLst>
              <pc:docMk/>
              <pc:sldMasterMk cId="1294353456" sldId="2147483721"/>
              <pc:sldLayoutMk cId="3598632700" sldId="2147483722"/>
              <ac:spMk id="21" creationId="{A2E1AB18-0C8A-4DCF-9D68-A09CA696B27B}"/>
            </ac:spMkLst>
          </pc:spChg>
          <pc:spChg chg="mod">
            <ac:chgData name="Daniel Esteban Ortiz Carvajal" userId="c61208ed-cfc9-41db-b98e-8ca1e81cbf8a" providerId="ADAL" clId="{460B01F5-D0D7-4F46-BDC5-EE5905768D06}" dt="2022-08-09T19:52:14.920" v="6749" actId="790"/>
            <ac:spMkLst>
              <pc:docMk/>
              <pc:sldMasterMk cId="1294353456" sldId="2147483721"/>
              <pc:sldLayoutMk cId="3598632700" sldId="2147483722"/>
              <ac:spMk id="22" creationId="{61D6A130-B935-4C2D-ADA9-6F2300796085}"/>
            </ac:spMkLst>
          </pc:spChg>
          <pc:spChg chg="mod">
            <ac:chgData name="Daniel Esteban Ortiz Carvajal" userId="c61208ed-cfc9-41db-b98e-8ca1e81cbf8a" providerId="ADAL" clId="{460B01F5-D0D7-4F46-BDC5-EE5905768D06}" dt="2022-08-09T19:52:14.925" v="6750" actId="790"/>
            <ac:spMkLst>
              <pc:docMk/>
              <pc:sldMasterMk cId="1294353456" sldId="2147483721"/>
              <pc:sldLayoutMk cId="3598632700" sldId="2147483722"/>
              <ac:spMk id="23" creationId="{69BB2DE3-5D7B-471A-9ECE-3E789F6A199F}"/>
            </ac:spMkLst>
          </pc:spChg>
          <pc:spChg chg="mod">
            <ac:chgData name="Daniel Esteban Ortiz Carvajal" userId="c61208ed-cfc9-41db-b98e-8ca1e81cbf8a" providerId="ADAL" clId="{460B01F5-D0D7-4F46-BDC5-EE5905768D06}" dt="2022-08-09T19:52:14.925" v="6751" actId="790"/>
            <ac:spMkLst>
              <pc:docMk/>
              <pc:sldMasterMk cId="1294353456" sldId="2147483721"/>
              <pc:sldLayoutMk cId="3598632700" sldId="2147483722"/>
              <ac:spMk id="24" creationId="{24F854ED-AF49-4253-B19A-1537ACA15C40}"/>
            </ac:spMkLst>
          </pc:spChg>
          <pc:spChg chg="mod">
            <ac:chgData name="Daniel Esteban Ortiz Carvajal" userId="c61208ed-cfc9-41db-b98e-8ca1e81cbf8a" providerId="ADAL" clId="{460B01F5-D0D7-4F46-BDC5-EE5905768D06}" dt="2022-08-09T19:52:14.935" v="6752" actId="790"/>
            <ac:spMkLst>
              <pc:docMk/>
              <pc:sldMasterMk cId="1294353456" sldId="2147483721"/>
              <pc:sldLayoutMk cId="3598632700" sldId="2147483722"/>
              <ac:spMk id="25" creationId="{15229D61-1B2E-4086-B500-4B14D42274E5}"/>
            </ac:spMkLst>
          </pc:spChg>
          <pc:graphicFrameChg chg="mod ord modVis replST">
            <ac:chgData name="Daniel Esteban Ortiz Carvajal" userId="c61208ed-cfc9-41db-b98e-8ca1e81cbf8a" providerId="ADAL" clId="{460B01F5-D0D7-4F46-BDC5-EE5905768D06}" dt="2022-08-09T19:52:20.691" v="8308" actId="1076"/>
            <ac:graphicFrameMkLst>
              <pc:docMk/>
              <pc:sldMasterMk cId="1294353456" sldId="2147483721"/>
              <pc:sldLayoutMk cId="3598632700" sldId="2147483722"/>
              <ac:graphicFrameMk id="2" creationId="{335B1AE3-CB15-499E-8A8D-117FE9332719}"/>
            </ac:graphicFrameMkLst>
          </pc:graphicFrameChg>
        </pc:sldLayoutChg>
        <pc:sldLayoutChg chg="modSp mod">
          <pc:chgData name="Daniel Esteban Ortiz Carvajal" userId="c61208ed-cfc9-41db-b98e-8ca1e81cbf8a" providerId="ADAL" clId="{460B01F5-D0D7-4F46-BDC5-EE5905768D06}" dt="2022-08-09T19:52:20.726" v="8316" actId="1076"/>
          <pc:sldLayoutMkLst>
            <pc:docMk/>
            <pc:sldMasterMk cId="1294353456" sldId="2147483721"/>
            <pc:sldLayoutMk cId="3374460751" sldId="2147483723"/>
          </pc:sldLayoutMkLst>
          <pc:spChg chg="mod">
            <ac:chgData name="Daniel Esteban Ortiz Carvajal" userId="c61208ed-cfc9-41db-b98e-8ca1e81cbf8a" providerId="ADAL" clId="{460B01F5-D0D7-4F46-BDC5-EE5905768D06}" dt="2022-08-09T19:52:14.951" v="6757" actId="790"/>
            <ac:spMkLst>
              <pc:docMk/>
              <pc:sldMasterMk cId="1294353456" sldId="2147483721"/>
              <pc:sldLayoutMk cId="3374460751" sldId="2147483723"/>
              <ac:spMk id="8" creationId="{605D1A18-34B7-4102-AA62-45CF17CF2BDE}"/>
            </ac:spMkLst>
          </pc:spChg>
          <pc:spChg chg="mod">
            <ac:chgData name="Daniel Esteban Ortiz Carvajal" userId="c61208ed-cfc9-41db-b98e-8ca1e81cbf8a" providerId="ADAL" clId="{460B01F5-D0D7-4F46-BDC5-EE5905768D06}" dt="2022-08-09T19:52:14.995" v="6766" actId="20577"/>
            <ac:spMkLst>
              <pc:docMk/>
              <pc:sldMasterMk cId="1294353456" sldId="2147483721"/>
              <pc:sldLayoutMk cId="3374460751" sldId="2147483723"/>
              <ac:spMk id="34" creationId="{A5A2F370-758D-4F2B-A01A-5780654A0C5A}"/>
            </ac:spMkLst>
          </pc:spChg>
          <pc:spChg chg="mod">
            <ac:chgData name="Daniel Esteban Ortiz Carvajal" userId="c61208ed-cfc9-41db-b98e-8ca1e81cbf8a" providerId="ADAL" clId="{460B01F5-D0D7-4F46-BDC5-EE5905768D06}" dt="2022-08-09T19:52:14.956" v="6758" actId="790"/>
            <ac:spMkLst>
              <pc:docMk/>
              <pc:sldMasterMk cId="1294353456" sldId="2147483721"/>
              <pc:sldLayoutMk cId="3374460751" sldId="2147483723"/>
              <ac:spMk id="57" creationId="{84BAC6C3-DA60-4E81-81D5-9737FCCFEE1A}"/>
            </ac:spMkLst>
          </pc:spChg>
          <pc:spChg chg="mod">
            <ac:chgData name="Daniel Esteban Ortiz Carvajal" userId="c61208ed-cfc9-41db-b98e-8ca1e81cbf8a" providerId="ADAL" clId="{460B01F5-D0D7-4F46-BDC5-EE5905768D06}" dt="2022-08-09T19:52:14.965" v="6759" actId="790"/>
            <ac:spMkLst>
              <pc:docMk/>
              <pc:sldMasterMk cId="1294353456" sldId="2147483721"/>
              <pc:sldLayoutMk cId="3374460751" sldId="2147483723"/>
              <ac:spMk id="58" creationId="{8031136A-D182-4DF7-9D99-BF7EC8B91EDC}"/>
            </ac:spMkLst>
          </pc:spChg>
          <pc:spChg chg="mod">
            <ac:chgData name="Daniel Esteban Ortiz Carvajal" userId="c61208ed-cfc9-41db-b98e-8ca1e81cbf8a" providerId="ADAL" clId="{460B01F5-D0D7-4F46-BDC5-EE5905768D06}" dt="2022-08-09T19:52:14.965" v="6760" actId="790"/>
            <ac:spMkLst>
              <pc:docMk/>
              <pc:sldMasterMk cId="1294353456" sldId="2147483721"/>
              <pc:sldLayoutMk cId="3374460751" sldId="2147483723"/>
              <ac:spMk id="59" creationId="{D5E34B06-0C62-4ADE-9F3B-67BEF1DEC541}"/>
            </ac:spMkLst>
          </pc:spChg>
          <pc:spChg chg="mod">
            <ac:chgData name="Daniel Esteban Ortiz Carvajal" userId="c61208ed-cfc9-41db-b98e-8ca1e81cbf8a" providerId="ADAL" clId="{460B01F5-D0D7-4F46-BDC5-EE5905768D06}" dt="2022-08-09T19:52:14.976" v="6761" actId="790"/>
            <ac:spMkLst>
              <pc:docMk/>
              <pc:sldMasterMk cId="1294353456" sldId="2147483721"/>
              <pc:sldLayoutMk cId="3374460751" sldId="2147483723"/>
              <ac:spMk id="60" creationId="{5E2A81B2-E282-44FF-A1D6-371475021CC8}"/>
            </ac:spMkLst>
          </pc:spChg>
          <pc:spChg chg="mod">
            <ac:chgData name="Daniel Esteban Ortiz Carvajal" userId="c61208ed-cfc9-41db-b98e-8ca1e81cbf8a" providerId="ADAL" clId="{460B01F5-D0D7-4F46-BDC5-EE5905768D06}" dt="2022-08-09T19:52:14.980" v="6762" actId="790"/>
            <ac:spMkLst>
              <pc:docMk/>
              <pc:sldMasterMk cId="1294353456" sldId="2147483721"/>
              <pc:sldLayoutMk cId="3374460751" sldId="2147483723"/>
              <ac:spMk id="62" creationId="{47A081BE-4A35-4D73-8470-5FA64B5FDE66}"/>
            </ac:spMkLst>
          </pc:spChg>
          <pc:spChg chg="mod">
            <ac:chgData name="Daniel Esteban Ortiz Carvajal" userId="c61208ed-cfc9-41db-b98e-8ca1e81cbf8a" providerId="ADAL" clId="{460B01F5-D0D7-4F46-BDC5-EE5905768D06}" dt="2022-08-09T19:52:14.995" v="6767" actId="790"/>
            <ac:spMkLst>
              <pc:docMk/>
              <pc:sldMasterMk cId="1294353456" sldId="2147483721"/>
              <pc:sldLayoutMk cId="3374460751" sldId="2147483723"/>
              <ac:spMk id="63" creationId="{A9D28C72-2467-4128-AAA1-6E57F5A4D757}"/>
            </ac:spMkLst>
          </pc:spChg>
          <pc:spChg chg="mod">
            <ac:chgData name="Daniel Esteban Ortiz Carvajal" userId="c61208ed-cfc9-41db-b98e-8ca1e81cbf8a" providerId="ADAL" clId="{460B01F5-D0D7-4F46-BDC5-EE5905768D06}" dt="2022-08-09T19:52:14.995" v="6768" actId="790"/>
            <ac:spMkLst>
              <pc:docMk/>
              <pc:sldMasterMk cId="1294353456" sldId="2147483721"/>
              <pc:sldLayoutMk cId="3374460751" sldId="2147483723"/>
              <ac:spMk id="64" creationId="{9B07FCD8-D8B8-4F05-9E31-A8F6FE78AD49}"/>
            </ac:spMkLst>
          </pc:spChg>
          <pc:spChg chg="mod">
            <ac:chgData name="Daniel Esteban Ortiz Carvajal" userId="c61208ed-cfc9-41db-b98e-8ca1e81cbf8a" providerId="ADAL" clId="{460B01F5-D0D7-4F46-BDC5-EE5905768D06}" dt="2022-08-09T19:52:15.006" v="6769" actId="790"/>
            <ac:spMkLst>
              <pc:docMk/>
              <pc:sldMasterMk cId="1294353456" sldId="2147483721"/>
              <pc:sldLayoutMk cId="3374460751" sldId="2147483723"/>
              <ac:spMk id="65" creationId="{616BE31F-E375-41B3-9399-0899294F886C}"/>
            </ac:spMkLst>
          </pc:spChg>
          <pc:spChg chg="mod">
            <ac:chgData name="Daniel Esteban Ortiz Carvajal" userId="c61208ed-cfc9-41db-b98e-8ca1e81cbf8a" providerId="ADAL" clId="{460B01F5-D0D7-4F46-BDC5-EE5905768D06}" dt="2022-08-09T19:52:14.951" v="6756" actId="20577"/>
            <ac:spMkLst>
              <pc:docMk/>
              <pc:sldMasterMk cId="1294353456" sldId="2147483721"/>
              <pc:sldLayoutMk cId="3374460751" sldId="2147483723"/>
              <ac:spMk id="66" creationId="{9FB0576C-928B-47E9-9C6A-9A9DD98BF4B1}"/>
            </ac:spMkLst>
          </pc:spChg>
          <pc:spChg chg="mod">
            <ac:chgData name="Daniel Esteban Ortiz Carvajal" userId="c61208ed-cfc9-41db-b98e-8ca1e81cbf8a" providerId="ADAL" clId="{460B01F5-D0D7-4F46-BDC5-EE5905768D06}" dt="2022-08-09T19:52:15.016" v="6773" actId="20577"/>
            <ac:spMkLst>
              <pc:docMk/>
              <pc:sldMasterMk cId="1294353456" sldId="2147483721"/>
              <pc:sldLayoutMk cId="3374460751" sldId="2147483723"/>
              <ac:spMk id="70" creationId="{C5F19857-18AA-4C46-8B5A-F82218BF191D}"/>
            </ac:spMkLst>
          </pc:spChg>
          <pc:graphicFrameChg chg="mod ord modVis replST">
            <ac:chgData name="Daniel Esteban Ortiz Carvajal" userId="c61208ed-cfc9-41db-b98e-8ca1e81cbf8a" providerId="ADAL" clId="{460B01F5-D0D7-4F46-BDC5-EE5905768D06}" dt="2022-08-09T19:52:20.726" v="8316" actId="1076"/>
            <ac:graphicFrameMkLst>
              <pc:docMk/>
              <pc:sldMasterMk cId="1294353456" sldId="2147483721"/>
              <pc:sldLayoutMk cId="3374460751" sldId="2147483723"/>
              <ac:graphicFrameMk id="2" creationId="{47640497-49A7-4F57-A72A-D81E553A966E}"/>
            </ac:graphicFrameMkLst>
          </pc:graphicFrameChg>
        </pc:sldLayoutChg>
      </pc:sldMasterChg>
      <pc:sldMasterChg chg="addSp modSp mod modSldLayout">
        <pc:chgData name="Daniel Esteban Ortiz Carvajal" userId="c61208ed-cfc9-41db-b98e-8ca1e81cbf8a" providerId="ADAL" clId="{460B01F5-D0D7-4F46-BDC5-EE5905768D06}" dt="2022-08-09T19:52:21.551" v="8479" actId="1076"/>
        <pc:sldMasterMkLst>
          <pc:docMk/>
          <pc:sldMasterMk cId="3974739318" sldId="2147483724"/>
        </pc:sldMasterMkLst>
        <pc:spChg chg="mod">
          <ac:chgData name="Daniel Esteban Ortiz Carvajal" userId="c61208ed-cfc9-41db-b98e-8ca1e81cbf8a" providerId="ADAL" clId="{460B01F5-D0D7-4F46-BDC5-EE5905768D06}" dt="2022-08-09T19:52:15.046" v="6783" actId="947"/>
          <ac:spMkLst>
            <pc:docMk/>
            <pc:sldMasterMk cId="3974739318" sldId="2147483724"/>
            <ac:spMk id="2" creationId="{D934EC28-94B5-4F38-8E9E-CB455BFA1FC4}"/>
          </ac:spMkLst>
        </pc:spChg>
        <pc:spChg chg="mod">
          <ac:chgData name="Daniel Esteban Ortiz Carvajal" userId="c61208ed-cfc9-41db-b98e-8ca1e81cbf8a" providerId="ADAL" clId="{460B01F5-D0D7-4F46-BDC5-EE5905768D06}" dt="2022-08-09T19:52:15.046" v="6785" actId="947"/>
          <ac:spMkLst>
            <pc:docMk/>
            <pc:sldMasterMk cId="3974739318" sldId="2147483724"/>
            <ac:spMk id="8" creationId="{17B25403-B61A-4769-9F16-4577D285B429}"/>
          </ac:spMkLst>
        </pc:spChg>
        <pc:spChg chg="mod">
          <ac:chgData name="Daniel Esteban Ortiz Carvajal" userId="c61208ed-cfc9-41db-b98e-8ca1e81cbf8a" providerId="ADAL" clId="{460B01F5-D0D7-4F46-BDC5-EE5905768D06}" dt="2022-08-09T19:52:15.016" v="6775" actId="947"/>
          <ac:spMkLst>
            <pc:docMk/>
            <pc:sldMasterMk cId="3974739318" sldId="2147483724"/>
            <ac:spMk id="12" creationId="{99E3250C-53A5-4C90-A360-23C74920ED53}"/>
          </ac:spMkLst>
        </pc:spChg>
        <pc:spChg chg="mod">
          <ac:chgData name="Daniel Esteban Ortiz Carvajal" userId="c61208ed-cfc9-41db-b98e-8ca1e81cbf8a" providerId="ADAL" clId="{460B01F5-D0D7-4F46-BDC5-EE5905768D06}" dt="2022-08-09T19:52:15.026" v="6777" actId="947"/>
          <ac:spMkLst>
            <pc:docMk/>
            <pc:sldMasterMk cId="3974739318" sldId="2147483724"/>
            <ac:spMk id="14" creationId="{1F43E76A-09E2-48E2-9734-EE67205755F5}"/>
          </ac:spMkLst>
        </pc:spChg>
        <pc:spChg chg="mod">
          <ac:chgData name="Daniel Esteban Ortiz Carvajal" userId="c61208ed-cfc9-41db-b98e-8ca1e81cbf8a" providerId="ADAL" clId="{460B01F5-D0D7-4F46-BDC5-EE5905768D06}" dt="2022-08-09T19:52:15.036" v="6779" actId="947"/>
          <ac:spMkLst>
            <pc:docMk/>
            <pc:sldMasterMk cId="3974739318" sldId="2147483724"/>
            <ac:spMk id="15" creationId="{D57AF2F2-C314-4442-A3B2-F6C97FD636A5}"/>
          </ac:spMkLst>
        </pc:spChg>
        <pc:spChg chg="mod">
          <ac:chgData name="Daniel Esteban Ortiz Carvajal" userId="c61208ed-cfc9-41db-b98e-8ca1e81cbf8a" providerId="ADAL" clId="{460B01F5-D0D7-4F46-BDC5-EE5905768D06}" dt="2022-08-09T19:52:15.042" v="6781" actId="947"/>
          <ac:spMkLst>
            <pc:docMk/>
            <pc:sldMasterMk cId="3974739318" sldId="2147483724"/>
            <ac:spMk id="16" creationId="{AFE11A3F-8F17-43E7-81A4-DB2F848AFD88}"/>
          </ac:spMkLst>
        </pc:spChg>
        <pc:graphicFrameChg chg="add mod ord modVis replST">
          <ac:chgData name="Daniel Esteban Ortiz Carvajal" userId="c61208ed-cfc9-41db-b98e-8ca1e81cbf8a" providerId="ADAL" clId="{460B01F5-D0D7-4F46-BDC5-EE5905768D06}" dt="2022-08-09T19:52:20.736" v="8317" actId="1076"/>
          <ac:graphicFrameMkLst>
            <pc:docMk/>
            <pc:sldMasterMk cId="3974739318" sldId="2147483724"/>
            <ac:graphicFrameMk id="3" creationId="{B8A02802-A9B6-4F5E-A5D4-80B87B6E3B9B}"/>
          </ac:graphicFrameMkLst>
        </pc:graphicFrameChg>
        <pc:sldLayoutChg chg="modSp mod">
          <pc:chgData name="Daniel Esteban Ortiz Carvajal" userId="c61208ed-cfc9-41db-b98e-8ca1e81cbf8a" providerId="ADAL" clId="{460B01F5-D0D7-4F46-BDC5-EE5905768D06}" dt="2022-08-09T19:52:20.776" v="8325" actId="1076"/>
          <pc:sldLayoutMkLst>
            <pc:docMk/>
            <pc:sldMasterMk cId="3974739318" sldId="2147483724"/>
            <pc:sldLayoutMk cId="3620027787" sldId="2147483725"/>
          </pc:sldLayoutMkLst>
          <pc:spChg chg="mod">
            <ac:chgData name="Daniel Esteban Ortiz Carvajal" userId="c61208ed-cfc9-41db-b98e-8ca1e81cbf8a" providerId="ADAL" clId="{460B01F5-D0D7-4F46-BDC5-EE5905768D06}" dt="2022-08-09T19:52:15.066" v="6789" actId="20577"/>
            <ac:spMkLst>
              <pc:docMk/>
              <pc:sldMasterMk cId="3974739318" sldId="2147483724"/>
              <pc:sldLayoutMk cId="3620027787" sldId="2147483725"/>
              <ac:spMk id="10" creationId="{A0A37555-A4F4-4D9D-9A78-E1C17FC5ED3D}"/>
            </ac:spMkLst>
          </pc:spChg>
          <pc:spChg chg="mod">
            <ac:chgData name="Daniel Esteban Ortiz Carvajal" userId="c61208ed-cfc9-41db-b98e-8ca1e81cbf8a" providerId="ADAL" clId="{460B01F5-D0D7-4F46-BDC5-EE5905768D06}" dt="2022-08-09T19:52:15.066" v="6793" actId="20577"/>
            <ac:spMkLst>
              <pc:docMk/>
              <pc:sldMasterMk cId="3974739318" sldId="2147483724"/>
              <pc:sldLayoutMk cId="3620027787" sldId="2147483725"/>
              <ac:spMk id="11" creationId="{DF5CD4C9-971D-4F6D-86B5-5F101C41299E}"/>
            </ac:spMkLst>
          </pc:spChg>
          <pc:spChg chg="mod">
            <ac:chgData name="Daniel Esteban Ortiz Carvajal" userId="c61208ed-cfc9-41db-b98e-8ca1e81cbf8a" providerId="ADAL" clId="{460B01F5-D0D7-4F46-BDC5-EE5905768D06}" dt="2022-08-09T19:52:15.085" v="6797" actId="20577"/>
            <ac:spMkLst>
              <pc:docMk/>
              <pc:sldMasterMk cId="3974739318" sldId="2147483724"/>
              <pc:sldLayoutMk cId="3620027787" sldId="2147483725"/>
              <ac:spMk id="12" creationId="{B72246A0-0F20-49C2-B545-DDD32D1DD4E7}"/>
            </ac:spMkLst>
          </pc:spChg>
          <pc:spChg chg="mod">
            <ac:chgData name="Daniel Esteban Ortiz Carvajal" userId="c61208ed-cfc9-41db-b98e-8ca1e81cbf8a" providerId="ADAL" clId="{460B01F5-D0D7-4F46-BDC5-EE5905768D06}" dt="2022-08-09T19:52:15.085" v="6798" actId="790"/>
            <ac:spMkLst>
              <pc:docMk/>
              <pc:sldMasterMk cId="3974739318" sldId="2147483724"/>
              <pc:sldLayoutMk cId="3620027787" sldId="2147483725"/>
              <ac:spMk id="15" creationId="{CEC8E69B-A074-493F-91E2-C295E16BF780}"/>
            </ac:spMkLst>
          </pc:spChg>
          <pc:spChg chg="mod">
            <ac:chgData name="Daniel Esteban Ortiz Carvajal" userId="c61208ed-cfc9-41db-b98e-8ca1e81cbf8a" providerId="ADAL" clId="{460B01F5-D0D7-4F46-BDC5-EE5905768D06}" dt="2022-08-09T19:52:15.085" v="6799" actId="790"/>
            <ac:spMkLst>
              <pc:docMk/>
              <pc:sldMasterMk cId="3974739318" sldId="2147483724"/>
              <pc:sldLayoutMk cId="3620027787" sldId="2147483725"/>
              <ac:spMk id="16" creationId="{9B21DFC6-E8B4-4447-B51E-07B6D84F3BFF}"/>
            </ac:spMkLst>
          </pc:spChg>
          <pc:spChg chg="mod">
            <ac:chgData name="Daniel Esteban Ortiz Carvajal" userId="c61208ed-cfc9-41db-b98e-8ca1e81cbf8a" providerId="ADAL" clId="{460B01F5-D0D7-4F46-BDC5-EE5905768D06}" dt="2022-08-09T19:52:15.096" v="6800" actId="790"/>
            <ac:spMkLst>
              <pc:docMk/>
              <pc:sldMasterMk cId="3974739318" sldId="2147483724"/>
              <pc:sldLayoutMk cId="3620027787" sldId="2147483725"/>
              <ac:spMk id="18" creationId="{6DA81AE9-D017-4B62-BCAC-EA85272F395C}"/>
            </ac:spMkLst>
          </pc:spChg>
          <pc:graphicFrameChg chg="mod ord modVis replST">
            <ac:chgData name="Daniel Esteban Ortiz Carvajal" userId="c61208ed-cfc9-41db-b98e-8ca1e81cbf8a" providerId="ADAL" clId="{460B01F5-D0D7-4F46-BDC5-EE5905768D06}" dt="2022-08-09T19:52:20.776" v="8325" actId="1076"/>
            <ac:graphicFrameMkLst>
              <pc:docMk/>
              <pc:sldMasterMk cId="3974739318" sldId="2147483724"/>
              <pc:sldLayoutMk cId="3620027787" sldId="2147483725"/>
              <ac:graphicFrameMk id="2" creationId="{6F0339B0-CE33-408B-A5EA-BA3561FF8E3E}"/>
            </ac:graphicFrameMkLst>
          </pc:graphicFrameChg>
        </pc:sldLayoutChg>
        <pc:sldLayoutChg chg="modSp mod">
          <pc:chgData name="Daniel Esteban Ortiz Carvajal" userId="c61208ed-cfc9-41db-b98e-8ca1e81cbf8a" providerId="ADAL" clId="{460B01F5-D0D7-4F46-BDC5-EE5905768D06}" dt="2022-08-09T19:52:20.815" v="8333" actId="1076"/>
          <pc:sldLayoutMkLst>
            <pc:docMk/>
            <pc:sldMasterMk cId="3974739318" sldId="2147483724"/>
            <pc:sldLayoutMk cId="123544660" sldId="2147483726"/>
          </pc:sldLayoutMkLst>
          <pc:spChg chg="mod">
            <ac:chgData name="Daniel Esteban Ortiz Carvajal" userId="c61208ed-cfc9-41db-b98e-8ca1e81cbf8a" providerId="ADAL" clId="{460B01F5-D0D7-4F46-BDC5-EE5905768D06}" dt="2022-08-09T19:52:15.106" v="6801" actId="790"/>
            <ac:spMkLst>
              <pc:docMk/>
              <pc:sldMasterMk cId="3974739318" sldId="2147483724"/>
              <pc:sldLayoutMk cId="123544660" sldId="2147483726"/>
              <ac:spMk id="7" creationId="{204EA1BE-DD6D-42EB-B925-CDA81BFAC3E9}"/>
            </ac:spMkLst>
          </pc:spChg>
          <pc:spChg chg="mod">
            <ac:chgData name="Daniel Esteban Ortiz Carvajal" userId="c61208ed-cfc9-41db-b98e-8ca1e81cbf8a" providerId="ADAL" clId="{460B01F5-D0D7-4F46-BDC5-EE5905768D06}" dt="2022-08-09T19:52:15.106" v="6802" actId="790"/>
            <ac:spMkLst>
              <pc:docMk/>
              <pc:sldMasterMk cId="3974739318" sldId="2147483724"/>
              <pc:sldLayoutMk cId="123544660" sldId="2147483726"/>
              <ac:spMk id="8" creationId="{50F147FF-0D0F-47D8-B93A-69A7AF8C4D0F}"/>
            </ac:spMkLst>
          </pc:spChg>
          <pc:spChg chg="mod">
            <ac:chgData name="Daniel Esteban Ortiz Carvajal" userId="c61208ed-cfc9-41db-b98e-8ca1e81cbf8a" providerId="ADAL" clId="{460B01F5-D0D7-4F46-BDC5-EE5905768D06}" dt="2022-08-09T19:52:15.115" v="6806" actId="20577"/>
            <ac:spMkLst>
              <pc:docMk/>
              <pc:sldMasterMk cId="3974739318" sldId="2147483724"/>
              <pc:sldLayoutMk cId="123544660" sldId="2147483726"/>
              <ac:spMk id="10" creationId="{8E884817-93F3-4FB2-8CF1-6DD43DC19FFE}"/>
            </ac:spMkLst>
          </pc:spChg>
          <pc:spChg chg="mod">
            <ac:chgData name="Daniel Esteban Ortiz Carvajal" userId="c61208ed-cfc9-41db-b98e-8ca1e81cbf8a" providerId="ADAL" clId="{460B01F5-D0D7-4F46-BDC5-EE5905768D06}" dt="2022-08-09T19:52:15.131" v="6810" actId="20577"/>
            <ac:spMkLst>
              <pc:docMk/>
              <pc:sldMasterMk cId="3974739318" sldId="2147483724"/>
              <pc:sldLayoutMk cId="123544660" sldId="2147483726"/>
              <ac:spMk id="11" creationId="{1F56AF49-5E2E-4C36-9E90-1E1E5F7C3D0E}"/>
            </ac:spMkLst>
          </pc:spChg>
          <pc:spChg chg="mod">
            <ac:chgData name="Daniel Esteban Ortiz Carvajal" userId="c61208ed-cfc9-41db-b98e-8ca1e81cbf8a" providerId="ADAL" clId="{460B01F5-D0D7-4F46-BDC5-EE5905768D06}" dt="2022-08-09T19:52:15.145" v="6814" actId="20577"/>
            <ac:spMkLst>
              <pc:docMk/>
              <pc:sldMasterMk cId="3974739318" sldId="2147483724"/>
              <pc:sldLayoutMk cId="123544660" sldId="2147483726"/>
              <ac:spMk id="12" creationId="{11799D56-8E8C-41D3-BC09-C95851FE4501}"/>
            </ac:spMkLst>
          </pc:spChg>
          <pc:spChg chg="mod">
            <ac:chgData name="Daniel Esteban Ortiz Carvajal" userId="c61208ed-cfc9-41db-b98e-8ca1e81cbf8a" providerId="ADAL" clId="{460B01F5-D0D7-4F46-BDC5-EE5905768D06}" dt="2022-08-09T19:52:15.145" v="6815" actId="790"/>
            <ac:spMkLst>
              <pc:docMk/>
              <pc:sldMasterMk cId="3974739318" sldId="2147483724"/>
              <pc:sldLayoutMk cId="123544660" sldId="2147483726"/>
              <ac:spMk id="17" creationId="{5A8BE3D0-E081-4B0B-8ABD-C1B976968C71}"/>
            </ac:spMkLst>
          </pc:spChg>
          <pc:graphicFrameChg chg="mod ord modVis replST">
            <ac:chgData name="Daniel Esteban Ortiz Carvajal" userId="c61208ed-cfc9-41db-b98e-8ca1e81cbf8a" providerId="ADAL" clId="{460B01F5-D0D7-4F46-BDC5-EE5905768D06}" dt="2022-08-09T19:52:20.815" v="8333" actId="1076"/>
            <ac:graphicFrameMkLst>
              <pc:docMk/>
              <pc:sldMasterMk cId="3974739318" sldId="2147483724"/>
              <pc:sldLayoutMk cId="123544660" sldId="2147483726"/>
              <ac:graphicFrameMk id="2" creationId="{4AF9B191-4A00-4090-8609-519A62C8EA0C}"/>
            </ac:graphicFrameMkLst>
          </pc:graphicFrameChg>
        </pc:sldLayoutChg>
        <pc:sldLayoutChg chg="modSp mod">
          <pc:chgData name="Daniel Esteban Ortiz Carvajal" userId="c61208ed-cfc9-41db-b98e-8ca1e81cbf8a" providerId="ADAL" clId="{460B01F5-D0D7-4F46-BDC5-EE5905768D06}" dt="2022-08-09T19:52:20.856" v="8341" actId="1076"/>
          <pc:sldLayoutMkLst>
            <pc:docMk/>
            <pc:sldMasterMk cId="3974739318" sldId="2147483724"/>
            <pc:sldLayoutMk cId="4151376097" sldId="2147483727"/>
          </pc:sldLayoutMkLst>
          <pc:spChg chg="mod">
            <ac:chgData name="Daniel Esteban Ortiz Carvajal" userId="c61208ed-cfc9-41db-b98e-8ca1e81cbf8a" providerId="ADAL" clId="{460B01F5-D0D7-4F46-BDC5-EE5905768D06}" dt="2022-08-09T19:52:15.155" v="6819" actId="20577"/>
            <ac:spMkLst>
              <pc:docMk/>
              <pc:sldMasterMk cId="3974739318" sldId="2147483724"/>
              <pc:sldLayoutMk cId="4151376097" sldId="2147483727"/>
              <ac:spMk id="4" creationId="{580D9C47-BCDA-446B-937A-257AD32C9A11}"/>
            </ac:spMkLst>
          </pc:spChg>
          <pc:spChg chg="mod">
            <ac:chgData name="Daniel Esteban Ortiz Carvajal" userId="c61208ed-cfc9-41db-b98e-8ca1e81cbf8a" providerId="ADAL" clId="{460B01F5-D0D7-4F46-BDC5-EE5905768D06}" dt="2022-08-09T19:52:15.171" v="6823" actId="20577"/>
            <ac:spMkLst>
              <pc:docMk/>
              <pc:sldMasterMk cId="3974739318" sldId="2147483724"/>
              <pc:sldLayoutMk cId="4151376097" sldId="2147483727"/>
              <ac:spMk id="5" creationId="{19609AED-1CCF-4D4F-8D68-601BF1BCA6D8}"/>
            </ac:spMkLst>
          </pc:spChg>
          <pc:spChg chg="mod">
            <ac:chgData name="Daniel Esteban Ortiz Carvajal" userId="c61208ed-cfc9-41db-b98e-8ca1e81cbf8a" providerId="ADAL" clId="{460B01F5-D0D7-4F46-BDC5-EE5905768D06}" dt="2022-08-09T19:52:15.186" v="6827" actId="20577"/>
            <ac:spMkLst>
              <pc:docMk/>
              <pc:sldMasterMk cId="3974739318" sldId="2147483724"/>
              <pc:sldLayoutMk cId="4151376097" sldId="2147483727"/>
              <ac:spMk id="6" creationId="{E865162D-BD59-418F-95FC-7A0F78B9A7DD}"/>
            </ac:spMkLst>
          </pc:spChg>
          <pc:spChg chg="mod">
            <ac:chgData name="Daniel Esteban Ortiz Carvajal" userId="c61208ed-cfc9-41db-b98e-8ca1e81cbf8a" providerId="ADAL" clId="{460B01F5-D0D7-4F46-BDC5-EE5905768D06}" dt="2022-08-09T19:52:15.186" v="6828" actId="790"/>
            <ac:spMkLst>
              <pc:docMk/>
              <pc:sldMasterMk cId="3974739318" sldId="2147483724"/>
              <pc:sldLayoutMk cId="4151376097" sldId="2147483727"/>
              <ac:spMk id="9" creationId="{AA8C7DBA-3906-4ACD-B0DC-5886DE4994AF}"/>
            </ac:spMkLst>
          </pc:spChg>
          <pc:spChg chg="mod">
            <ac:chgData name="Daniel Esteban Ortiz Carvajal" userId="c61208ed-cfc9-41db-b98e-8ca1e81cbf8a" providerId="ADAL" clId="{460B01F5-D0D7-4F46-BDC5-EE5905768D06}" dt="2022-08-09T19:52:15.191" v="6829" actId="790"/>
            <ac:spMkLst>
              <pc:docMk/>
              <pc:sldMasterMk cId="3974739318" sldId="2147483724"/>
              <pc:sldLayoutMk cId="4151376097" sldId="2147483727"/>
              <ac:spMk id="10" creationId="{A8BB2347-E5FF-4294-B1C3-399405F4240C}"/>
            </ac:spMkLst>
          </pc:spChg>
          <pc:spChg chg="mod">
            <ac:chgData name="Daniel Esteban Ortiz Carvajal" userId="c61208ed-cfc9-41db-b98e-8ca1e81cbf8a" providerId="ADAL" clId="{460B01F5-D0D7-4F46-BDC5-EE5905768D06}" dt="2022-08-09T19:52:15.196" v="6830" actId="790"/>
            <ac:spMkLst>
              <pc:docMk/>
              <pc:sldMasterMk cId="3974739318" sldId="2147483724"/>
              <pc:sldLayoutMk cId="4151376097" sldId="2147483727"/>
              <ac:spMk id="12" creationId="{685DDC28-DCD4-43BD-AE96-C7B31858D724}"/>
            </ac:spMkLst>
          </pc:spChg>
          <pc:graphicFrameChg chg="mod ord modVis replST">
            <ac:chgData name="Daniel Esteban Ortiz Carvajal" userId="c61208ed-cfc9-41db-b98e-8ca1e81cbf8a" providerId="ADAL" clId="{460B01F5-D0D7-4F46-BDC5-EE5905768D06}" dt="2022-08-09T19:52:20.856" v="8341" actId="1076"/>
            <ac:graphicFrameMkLst>
              <pc:docMk/>
              <pc:sldMasterMk cId="3974739318" sldId="2147483724"/>
              <pc:sldLayoutMk cId="4151376097" sldId="2147483727"/>
              <ac:graphicFrameMk id="2" creationId="{CE671CF2-CE17-4F2F-AC39-098B42480BE3}"/>
            </ac:graphicFrameMkLst>
          </pc:graphicFrameChg>
        </pc:sldLayoutChg>
        <pc:sldLayoutChg chg="modSp mod">
          <pc:chgData name="Daniel Esteban Ortiz Carvajal" userId="c61208ed-cfc9-41db-b98e-8ca1e81cbf8a" providerId="ADAL" clId="{460B01F5-D0D7-4F46-BDC5-EE5905768D06}" dt="2022-08-09T19:52:20.896" v="8349" actId="1076"/>
          <pc:sldLayoutMkLst>
            <pc:docMk/>
            <pc:sldMasterMk cId="3974739318" sldId="2147483724"/>
            <pc:sldLayoutMk cId="1356241006" sldId="2147483728"/>
          </pc:sldLayoutMkLst>
          <pc:spChg chg="mod">
            <ac:chgData name="Daniel Esteban Ortiz Carvajal" userId="c61208ed-cfc9-41db-b98e-8ca1e81cbf8a" providerId="ADAL" clId="{460B01F5-D0D7-4F46-BDC5-EE5905768D06}" dt="2022-08-09T19:52:15.205" v="6834" actId="20577"/>
            <ac:spMkLst>
              <pc:docMk/>
              <pc:sldMasterMk cId="3974739318" sldId="2147483724"/>
              <pc:sldLayoutMk cId="1356241006" sldId="2147483728"/>
              <ac:spMk id="9" creationId="{49302056-3FD7-478A-BB4E-F78D43A2625C}"/>
            </ac:spMkLst>
          </pc:spChg>
          <pc:spChg chg="mod">
            <ac:chgData name="Daniel Esteban Ortiz Carvajal" userId="c61208ed-cfc9-41db-b98e-8ca1e81cbf8a" providerId="ADAL" clId="{460B01F5-D0D7-4F46-BDC5-EE5905768D06}" dt="2022-08-09T19:52:15.215" v="6838" actId="20577"/>
            <ac:spMkLst>
              <pc:docMk/>
              <pc:sldMasterMk cId="3974739318" sldId="2147483724"/>
              <pc:sldLayoutMk cId="1356241006" sldId="2147483728"/>
              <ac:spMk id="10" creationId="{B2E9AB1A-C24A-4EC4-875C-B6893E5A5CA0}"/>
            </ac:spMkLst>
          </pc:spChg>
          <pc:spChg chg="mod">
            <ac:chgData name="Daniel Esteban Ortiz Carvajal" userId="c61208ed-cfc9-41db-b98e-8ca1e81cbf8a" providerId="ADAL" clId="{460B01F5-D0D7-4F46-BDC5-EE5905768D06}" dt="2022-08-09T19:52:15.236" v="6842" actId="20577"/>
            <ac:spMkLst>
              <pc:docMk/>
              <pc:sldMasterMk cId="3974739318" sldId="2147483724"/>
              <pc:sldLayoutMk cId="1356241006" sldId="2147483728"/>
              <ac:spMk id="11" creationId="{4A6CF651-283F-4A5D-A8E1-05E67AA35F43}"/>
            </ac:spMkLst>
          </pc:spChg>
          <pc:spChg chg="mod">
            <ac:chgData name="Daniel Esteban Ortiz Carvajal" userId="c61208ed-cfc9-41db-b98e-8ca1e81cbf8a" providerId="ADAL" clId="{460B01F5-D0D7-4F46-BDC5-EE5905768D06}" dt="2022-08-09T19:52:15.236" v="6843" actId="790"/>
            <ac:spMkLst>
              <pc:docMk/>
              <pc:sldMasterMk cId="3974739318" sldId="2147483724"/>
              <pc:sldLayoutMk cId="1356241006" sldId="2147483728"/>
              <ac:spMk id="14" creationId="{ABD25CB3-048D-4ACE-86AD-A270FC191C52}"/>
            </ac:spMkLst>
          </pc:spChg>
          <pc:spChg chg="mod">
            <ac:chgData name="Daniel Esteban Ortiz Carvajal" userId="c61208ed-cfc9-41db-b98e-8ca1e81cbf8a" providerId="ADAL" clId="{460B01F5-D0D7-4F46-BDC5-EE5905768D06}" dt="2022-08-09T19:52:15.242" v="6844" actId="790"/>
            <ac:spMkLst>
              <pc:docMk/>
              <pc:sldMasterMk cId="3974739318" sldId="2147483724"/>
              <pc:sldLayoutMk cId="1356241006" sldId="2147483728"/>
              <ac:spMk id="15" creationId="{AA291129-A608-447B-9831-459A0F595D03}"/>
            </ac:spMkLst>
          </pc:spChg>
          <pc:spChg chg="mod">
            <ac:chgData name="Daniel Esteban Ortiz Carvajal" userId="c61208ed-cfc9-41db-b98e-8ca1e81cbf8a" providerId="ADAL" clId="{460B01F5-D0D7-4F46-BDC5-EE5905768D06}" dt="2022-08-09T19:52:15.246" v="6845" actId="790"/>
            <ac:spMkLst>
              <pc:docMk/>
              <pc:sldMasterMk cId="3974739318" sldId="2147483724"/>
              <pc:sldLayoutMk cId="1356241006" sldId="2147483728"/>
              <ac:spMk id="17" creationId="{D9D8CC0F-BEB4-4A8B-BFF1-92410311DAF3}"/>
            </ac:spMkLst>
          </pc:spChg>
          <pc:graphicFrameChg chg="mod ord modVis replST">
            <ac:chgData name="Daniel Esteban Ortiz Carvajal" userId="c61208ed-cfc9-41db-b98e-8ca1e81cbf8a" providerId="ADAL" clId="{460B01F5-D0D7-4F46-BDC5-EE5905768D06}" dt="2022-08-09T19:52:20.896" v="8349" actId="1076"/>
            <ac:graphicFrameMkLst>
              <pc:docMk/>
              <pc:sldMasterMk cId="3974739318" sldId="2147483724"/>
              <pc:sldLayoutMk cId="1356241006" sldId="2147483728"/>
              <ac:graphicFrameMk id="2" creationId="{F57200DB-7B30-4F4B-AFBE-C299F7E77631}"/>
            </ac:graphicFrameMkLst>
          </pc:graphicFrameChg>
        </pc:sldLayoutChg>
        <pc:sldLayoutChg chg="modSp mod">
          <pc:chgData name="Daniel Esteban Ortiz Carvajal" userId="c61208ed-cfc9-41db-b98e-8ca1e81cbf8a" providerId="ADAL" clId="{460B01F5-D0D7-4F46-BDC5-EE5905768D06}" dt="2022-08-09T19:52:20.935" v="8357" actId="1076"/>
          <pc:sldLayoutMkLst>
            <pc:docMk/>
            <pc:sldMasterMk cId="3974739318" sldId="2147483724"/>
            <pc:sldLayoutMk cId="4213748184" sldId="2147483729"/>
          </pc:sldLayoutMkLst>
          <pc:spChg chg="mod">
            <ac:chgData name="Daniel Esteban Ortiz Carvajal" userId="c61208ed-cfc9-41db-b98e-8ca1e81cbf8a" providerId="ADAL" clId="{460B01F5-D0D7-4F46-BDC5-EE5905768D06}" dt="2022-08-09T19:52:15.255" v="6849" actId="20577"/>
            <ac:spMkLst>
              <pc:docMk/>
              <pc:sldMasterMk cId="3974739318" sldId="2147483724"/>
              <pc:sldLayoutMk cId="4213748184" sldId="2147483729"/>
              <ac:spMk id="5" creationId="{1AFD7238-7F0B-48B2-BFD3-DA13F389755F}"/>
            </ac:spMkLst>
          </pc:spChg>
          <pc:spChg chg="mod">
            <ac:chgData name="Daniel Esteban Ortiz Carvajal" userId="c61208ed-cfc9-41db-b98e-8ca1e81cbf8a" providerId="ADAL" clId="{460B01F5-D0D7-4F46-BDC5-EE5905768D06}" dt="2022-08-09T19:52:15.270" v="6853" actId="20577"/>
            <ac:spMkLst>
              <pc:docMk/>
              <pc:sldMasterMk cId="3974739318" sldId="2147483724"/>
              <pc:sldLayoutMk cId="4213748184" sldId="2147483729"/>
              <ac:spMk id="6" creationId="{EDC18B24-97EF-489E-B634-988F36F1E6CE}"/>
            </ac:spMkLst>
          </pc:spChg>
          <pc:spChg chg="mod">
            <ac:chgData name="Daniel Esteban Ortiz Carvajal" userId="c61208ed-cfc9-41db-b98e-8ca1e81cbf8a" providerId="ADAL" clId="{460B01F5-D0D7-4F46-BDC5-EE5905768D06}" dt="2022-08-09T19:52:15.276" v="6857" actId="20577"/>
            <ac:spMkLst>
              <pc:docMk/>
              <pc:sldMasterMk cId="3974739318" sldId="2147483724"/>
              <pc:sldLayoutMk cId="4213748184" sldId="2147483729"/>
              <ac:spMk id="7" creationId="{4AC0D8B8-19AE-4F67-A422-71B7B873A441}"/>
            </ac:spMkLst>
          </pc:spChg>
          <pc:spChg chg="mod">
            <ac:chgData name="Daniel Esteban Ortiz Carvajal" userId="c61208ed-cfc9-41db-b98e-8ca1e81cbf8a" providerId="ADAL" clId="{460B01F5-D0D7-4F46-BDC5-EE5905768D06}" dt="2022-08-09T19:52:15.276" v="6858" actId="790"/>
            <ac:spMkLst>
              <pc:docMk/>
              <pc:sldMasterMk cId="3974739318" sldId="2147483724"/>
              <pc:sldLayoutMk cId="4213748184" sldId="2147483729"/>
              <ac:spMk id="10" creationId="{0206D886-98B6-430F-89D1-03CF22660C46}"/>
            </ac:spMkLst>
          </pc:spChg>
          <pc:spChg chg="mod">
            <ac:chgData name="Daniel Esteban Ortiz Carvajal" userId="c61208ed-cfc9-41db-b98e-8ca1e81cbf8a" providerId="ADAL" clId="{460B01F5-D0D7-4F46-BDC5-EE5905768D06}" dt="2022-08-09T19:52:15.286" v="6859" actId="790"/>
            <ac:spMkLst>
              <pc:docMk/>
              <pc:sldMasterMk cId="3974739318" sldId="2147483724"/>
              <pc:sldLayoutMk cId="4213748184" sldId="2147483729"/>
              <ac:spMk id="11" creationId="{F848E916-D42A-49CE-8835-B67C881C86B1}"/>
            </ac:spMkLst>
          </pc:spChg>
          <pc:spChg chg="mod">
            <ac:chgData name="Daniel Esteban Ortiz Carvajal" userId="c61208ed-cfc9-41db-b98e-8ca1e81cbf8a" providerId="ADAL" clId="{460B01F5-D0D7-4F46-BDC5-EE5905768D06}" dt="2022-08-09T19:52:15.286" v="6860" actId="790"/>
            <ac:spMkLst>
              <pc:docMk/>
              <pc:sldMasterMk cId="3974739318" sldId="2147483724"/>
              <pc:sldLayoutMk cId="4213748184" sldId="2147483729"/>
              <ac:spMk id="13" creationId="{BE6DAD75-1167-4150-9374-9214C94E7CF6}"/>
            </ac:spMkLst>
          </pc:spChg>
          <pc:graphicFrameChg chg="mod ord modVis replST">
            <ac:chgData name="Daniel Esteban Ortiz Carvajal" userId="c61208ed-cfc9-41db-b98e-8ca1e81cbf8a" providerId="ADAL" clId="{460B01F5-D0D7-4F46-BDC5-EE5905768D06}" dt="2022-08-09T19:52:20.935" v="8357" actId="1076"/>
            <ac:graphicFrameMkLst>
              <pc:docMk/>
              <pc:sldMasterMk cId="3974739318" sldId="2147483724"/>
              <pc:sldLayoutMk cId="4213748184" sldId="2147483729"/>
              <ac:graphicFrameMk id="2" creationId="{1AA6192A-A451-458B-A5D0-6B1B0FA4DF5E}"/>
            </ac:graphicFrameMkLst>
          </pc:graphicFrameChg>
        </pc:sldLayoutChg>
        <pc:sldLayoutChg chg="modSp mod">
          <pc:chgData name="Daniel Esteban Ortiz Carvajal" userId="c61208ed-cfc9-41db-b98e-8ca1e81cbf8a" providerId="ADAL" clId="{460B01F5-D0D7-4F46-BDC5-EE5905768D06}" dt="2022-08-09T19:52:20.975" v="8365" actId="1076"/>
          <pc:sldLayoutMkLst>
            <pc:docMk/>
            <pc:sldMasterMk cId="3974739318" sldId="2147483724"/>
            <pc:sldLayoutMk cId="2718326015" sldId="2147483730"/>
          </pc:sldLayoutMkLst>
          <pc:spChg chg="mod">
            <ac:chgData name="Daniel Esteban Ortiz Carvajal" userId="c61208ed-cfc9-41db-b98e-8ca1e81cbf8a" providerId="ADAL" clId="{460B01F5-D0D7-4F46-BDC5-EE5905768D06}" dt="2022-08-09T19:52:15.305" v="6864" actId="20577"/>
            <ac:spMkLst>
              <pc:docMk/>
              <pc:sldMasterMk cId="3974739318" sldId="2147483724"/>
              <pc:sldLayoutMk cId="2718326015" sldId="2147483730"/>
              <ac:spMk id="4" creationId="{43921284-4D9D-4602-9BFC-A1E37B2922E7}"/>
            </ac:spMkLst>
          </pc:spChg>
          <pc:spChg chg="mod">
            <ac:chgData name="Daniel Esteban Ortiz Carvajal" userId="c61208ed-cfc9-41db-b98e-8ca1e81cbf8a" providerId="ADAL" clId="{460B01F5-D0D7-4F46-BDC5-EE5905768D06}" dt="2022-08-09T19:52:15.315" v="6868" actId="20577"/>
            <ac:spMkLst>
              <pc:docMk/>
              <pc:sldMasterMk cId="3974739318" sldId="2147483724"/>
              <pc:sldLayoutMk cId="2718326015" sldId="2147483730"/>
              <ac:spMk id="5" creationId="{A4DD121E-136B-4871-8807-5C218AE8C3E3}"/>
            </ac:spMkLst>
          </pc:spChg>
          <pc:spChg chg="mod">
            <ac:chgData name="Daniel Esteban Ortiz Carvajal" userId="c61208ed-cfc9-41db-b98e-8ca1e81cbf8a" providerId="ADAL" clId="{460B01F5-D0D7-4F46-BDC5-EE5905768D06}" dt="2022-08-09T19:52:15.325" v="6872" actId="20577"/>
            <ac:spMkLst>
              <pc:docMk/>
              <pc:sldMasterMk cId="3974739318" sldId="2147483724"/>
              <pc:sldLayoutMk cId="2718326015" sldId="2147483730"/>
              <ac:spMk id="6" creationId="{5E8499EA-8490-4967-9CE4-A5E9B6E5B664}"/>
            </ac:spMkLst>
          </pc:spChg>
          <pc:spChg chg="mod">
            <ac:chgData name="Daniel Esteban Ortiz Carvajal" userId="c61208ed-cfc9-41db-b98e-8ca1e81cbf8a" providerId="ADAL" clId="{460B01F5-D0D7-4F46-BDC5-EE5905768D06}" dt="2022-08-09T19:52:15.325" v="6873" actId="790"/>
            <ac:spMkLst>
              <pc:docMk/>
              <pc:sldMasterMk cId="3974739318" sldId="2147483724"/>
              <pc:sldLayoutMk cId="2718326015" sldId="2147483730"/>
              <ac:spMk id="9" creationId="{7753AEA0-E832-4DD0-AF42-C2D5D2B489DC}"/>
            </ac:spMkLst>
          </pc:spChg>
          <pc:spChg chg="mod">
            <ac:chgData name="Daniel Esteban Ortiz Carvajal" userId="c61208ed-cfc9-41db-b98e-8ca1e81cbf8a" providerId="ADAL" clId="{460B01F5-D0D7-4F46-BDC5-EE5905768D06}" dt="2022-08-09T19:52:15.325" v="6874" actId="790"/>
            <ac:spMkLst>
              <pc:docMk/>
              <pc:sldMasterMk cId="3974739318" sldId="2147483724"/>
              <pc:sldLayoutMk cId="2718326015" sldId="2147483730"/>
              <ac:spMk id="10" creationId="{0255E1F4-C215-4653-BE87-6B45840716C6}"/>
            </ac:spMkLst>
          </pc:spChg>
          <pc:spChg chg="mod">
            <ac:chgData name="Daniel Esteban Ortiz Carvajal" userId="c61208ed-cfc9-41db-b98e-8ca1e81cbf8a" providerId="ADAL" clId="{460B01F5-D0D7-4F46-BDC5-EE5905768D06}" dt="2022-08-09T19:52:15.336" v="6875" actId="790"/>
            <ac:spMkLst>
              <pc:docMk/>
              <pc:sldMasterMk cId="3974739318" sldId="2147483724"/>
              <pc:sldLayoutMk cId="2718326015" sldId="2147483730"/>
              <ac:spMk id="12" creationId="{C5E3B99C-0135-4A45-8170-F848DE464579}"/>
            </ac:spMkLst>
          </pc:spChg>
          <pc:graphicFrameChg chg="mod ord modVis replST">
            <ac:chgData name="Daniel Esteban Ortiz Carvajal" userId="c61208ed-cfc9-41db-b98e-8ca1e81cbf8a" providerId="ADAL" clId="{460B01F5-D0D7-4F46-BDC5-EE5905768D06}" dt="2022-08-09T19:52:20.975" v="8365" actId="1076"/>
            <ac:graphicFrameMkLst>
              <pc:docMk/>
              <pc:sldMasterMk cId="3974739318" sldId="2147483724"/>
              <pc:sldLayoutMk cId="2718326015" sldId="2147483730"/>
              <ac:graphicFrameMk id="2" creationId="{9CA71272-E202-4308-AF32-C23D4CFD7704}"/>
            </ac:graphicFrameMkLst>
          </pc:graphicFrameChg>
        </pc:sldLayoutChg>
        <pc:sldLayoutChg chg="modSp mod">
          <pc:chgData name="Daniel Esteban Ortiz Carvajal" userId="c61208ed-cfc9-41db-b98e-8ca1e81cbf8a" providerId="ADAL" clId="{460B01F5-D0D7-4F46-BDC5-EE5905768D06}" dt="2022-08-09T19:52:21.016" v="8373" actId="1076"/>
          <pc:sldLayoutMkLst>
            <pc:docMk/>
            <pc:sldMasterMk cId="3974739318" sldId="2147483724"/>
            <pc:sldLayoutMk cId="1289341395" sldId="2147483731"/>
          </pc:sldLayoutMkLst>
          <pc:spChg chg="mod">
            <ac:chgData name="Daniel Esteban Ortiz Carvajal" userId="c61208ed-cfc9-41db-b98e-8ca1e81cbf8a" providerId="ADAL" clId="{460B01F5-D0D7-4F46-BDC5-EE5905768D06}" dt="2022-08-09T19:52:15.343" v="6876" actId="790"/>
            <ac:spMkLst>
              <pc:docMk/>
              <pc:sldMasterMk cId="3974739318" sldId="2147483724"/>
              <pc:sldLayoutMk cId="1289341395" sldId="2147483731"/>
              <ac:spMk id="12" creationId="{0809E568-2108-44E2-9A0C-86CBC3B8149D}"/>
            </ac:spMkLst>
          </pc:spChg>
          <pc:spChg chg="mod">
            <ac:chgData name="Daniel Esteban Ortiz Carvajal" userId="c61208ed-cfc9-41db-b98e-8ca1e81cbf8a" providerId="ADAL" clId="{460B01F5-D0D7-4F46-BDC5-EE5905768D06}" dt="2022-08-09T19:52:15.345" v="6877" actId="790"/>
            <ac:spMkLst>
              <pc:docMk/>
              <pc:sldMasterMk cId="3974739318" sldId="2147483724"/>
              <pc:sldLayoutMk cId="1289341395" sldId="2147483731"/>
              <ac:spMk id="14" creationId="{75901F94-166C-407E-BFBB-67B1039B9EA7}"/>
            </ac:spMkLst>
          </pc:spChg>
          <pc:spChg chg="mod">
            <ac:chgData name="Daniel Esteban Ortiz Carvajal" userId="c61208ed-cfc9-41db-b98e-8ca1e81cbf8a" providerId="ADAL" clId="{460B01F5-D0D7-4F46-BDC5-EE5905768D06}" dt="2022-08-09T19:52:15.345" v="6878" actId="790"/>
            <ac:spMkLst>
              <pc:docMk/>
              <pc:sldMasterMk cId="3974739318" sldId="2147483724"/>
              <pc:sldLayoutMk cId="1289341395" sldId="2147483731"/>
              <ac:spMk id="15" creationId="{323C8D70-88BE-452B-B2FF-84905D6398AE}"/>
            </ac:spMkLst>
          </pc:spChg>
          <pc:spChg chg="mod">
            <ac:chgData name="Daniel Esteban Ortiz Carvajal" userId="c61208ed-cfc9-41db-b98e-8ca1e81cbf8a" providerId="ADAL" clId="{460B01F5-D0D7-4F46-BDC5-EE5905768D06}" dt="2022-08-09T19:52:15.366" v="6882" actId="20577"/>
            <ac:spMkLst>
              <pc:docMk/>
              <pc:sldMasterMk cId="3974739318" sldId="2147483724"/>
              <pc:sldLayoutMk cId="1289341395" sldId="2147483731"/>
              <ac:spMk id="16" creationId="{D2A9C319-5DC6-4D25-8958-FF6AFBFC3332}"/>
            </ac:spMkLst>
          </pc:spChg>
          <pc:spChg chg="mod">
            <ac:chgData name="Daniel Esteban Ortiz Carvajal" userId="c61208ed-cfc9-41db-b98e-8ca1e81cbf8a" providerId="ADAL" clId="{460B01F5-D0D7-4F46-BDC5-EE5905768D06}" dt="2022-08-09T19:52:15.375" v="6886" actId="20577"/>
            <ac:spMkLst>
              <pc:docMk/>
              <pc:sldMasterMk cId="3974739318" sldId="2147483724"/>
              <pc:sldLayoutMk cId="1289341395" sldId="2147483731"/>
              <ac:spMk id="18" creationId="{C2C1FB0C-63CE-4BE9-874A-FE35053E391F}"/>
            </ac:spMkLst>
          </pc:spChg>
          <pc:spChg chg="mod">
            <ac:chgData name="Daniel Esteban Ortiz Carvajal" userId="c61208ed-cfc9-41db-b98e-8ca1e81cbf8a" providerId="ADAL" clId="{460B01F5-D0D7-4F46-BDC5-EE5905768D06}" dt="2022-08-09T19:52:15.375" v="6890" actId="20577"/>
            <ac:spMkLst>
              <pc:docMk/>
              <pc:sldMasterMk cId="3974739318" sldId="2147483724"/>
              <pc:sldLayoutMk cId="1289341395" sldId="2147483731"/>
              <ac:spMk id="19" creationId="{DE8EC139-56C8-443E-BED0-3C227CC216DE}"/>
            </ac:spMkLst>
          </pc:spChg>
          <pc:spChg chg="mod">
            <ac:chgData name="Daniel Esteban Ortiz Carvajal" userId="c61208ed-cfc9-41db-b98e-8ca1e81cbf8a" providerId="ADAL" clId="{460B01F5-D0D7-4F46-BDC5-EE5905768D06}" dt="2022-08-09T19:52:15.385" v="6892" actId="947"/>
            <ac:spMkLst>
              <pc:docMk/>
              <pc:sldMasterMk cId="3974739318" sldId="2147483724"/>
              <pc:sldLayoutMk cId="1289341395" sldId="2147483731"/>
              <ac:spMk id="20" creationId="{400F168F-ED42-4ADC-AC46-98172580B45A}"/>
            </ac:spMkLst>
          </pc:spChg>
          <pc:graphicFrameChg chg="mod ord modVis replST">
            <ac:chgData name="Daniel Esteban Ortiz Carvajal" userId="c61208ed-cfc9-41db-b98e-8ca1e81cbf8a" providerId="ADAL" clId="{460B01F5-D0D7-4F46-BDC5-EE5905768D06}" dt="2022-08-09T19:52:21.016" v="8373" actId="1076"/>
            <ac:graphicFrameMkLst>
              <pc:docMk/>
              <pc:sldMasterMk cId="3974739318" sldId="2147483724"/>
              <pc:sldLayoutMk cId="1289341395" sldId="2147483731"/>
              <ac:graphicFrameMk id="2" creationId="{E257AB7F-6DDF-4EBC-A819-BDA128C9BF0B}"/>
            </ac:graphicFrameMkLst>
          </pc:graphicFrameChg>
        </pc:sldLayoutChg>
        <pc:sldLayoutChg chg="modSp mod">
          <pc:chgData name="Daniel Esteban Ortiz Carvajal" userId="c61208ed-cfc9-41db-b98e-8ca1e81cbf8a" providerId="ADAL" clId="{460B01F5-D0D7-4F46-BDC5-EE5905768D06}" dt="2022-08-09T19:52:21.056" v="8381" actId="1076"/>
          <pc:sldLayoutMkLst>
            <pc:docMk/>
            <pc:sldMasterMk cId="3974739318" sldId="2147483724"/>
            <pc:sldLayoutMk cId="457319693" sldId="2147483732"/>
          </pc:sldLayoutMkLst>
          <pc:spChg chg="mod">
            <ac:chgData name="Daniel Esteban Ortiz Carvajal" userId="c61208ed-cfc9-41db-b98e-8ca1e81cbf8a" providerId="ADAL" clId="{460B01F5-D0D7-4F46-BDC5-EE5905768D06}" dt="2022-08-09T19:52:15.385" v="6893" actId="790"/>
            <ac:spMkLst>
              <pc:docMk/>
              <pc:sldMasterMk cId="3974739318" sldId="2147483724"/>
              <pc:sldLayoutMk cId="457319693" sldId="2147483732"/>
              <ac:spMk id="9" creationId="{9C430ED7-F932-42F7-832F-604F2ECDDA70}"/>
            </ac:spMkLst>
          </pc:spChg>
          <pc:spChg chg="mod">
            <ac:chgData name="Daniel Esteban Ortiz Carvajal" userId="c61208ed-cfc9-41db-b98e-8ca1e81cbf8a" providerId="ADAL" clId="{460B01F5-D0D7-4F46-BDC5-EE5905768D06}" dt="2022-08-09T19:52:15.395" v="6894" actId="790"/>
            <ac:spMkLst>
              <pc:docMk/>
              <pc:sldMasterMk cId="3974739318" sldId="2147483724"/>
              <pc:sldLayoutMk cId="457319693" sldId="2147483732"/>
              <ac:spMk id="10" creationId="{F82293D6-7E9D-4526-A6D7-29B0B1A8A7A0}"/>
            </ac:spMkLst>
          </pc:spChg>
          <pc:spChg chg="mod">
            <ac:chgData name="Daniel Esteban Ortiz Carvajal" userId="c61208ed-cfc9-41db-b98e-8ca1e81cbf8a" providerId="ADAL" clId="{460B01F5-D0D7-4F46-BDC5-EE5905768D06}" dt="2022-08-09T19:52:15.395" v="6895" actId="790"/>
            <ac:spMkLst>
              <pc:docMk/>
              <pc:sldMasterMk cId="3974739318" sldId="2147483724"/>
              <pc:sldLayoutMk cId="457319693" sldId="2147483732"/>
              <ac:spMk id="12" creationId="{4A93F653-AF05-4F82-BC67-EB522D89950F}"/>
            </ac:spMkLst>
          </pc:spChg>
          <pc:spChg chg="mod">
            <ac:chgData name="Daniel Esteban Ortiz Carvajal" userId="c61208ed-cfc9-41db-b98e-8ca1e81cbf8a" providerId="ADAL" clId="{460B01F5-D0D7-4F46-BDC5-EE5905768D06}" dt="2022-08-09T19:52:15.406" v="6899" actId="20577"/>
            <ac:spMkLst>
              <pc:docMk/>
              <pc:sldMasterMk cId="3974739318" sldId="2147483724"/>
              <pc:sldLayoutMk cId="457319693" sldId="2147483732"/>
              <ac:spMk id="15" creationId="{8F11CF30-02BD-469C-80F6-6B3FB9713EB0}"/>
            </ac:spMkLst>
          </pc:spChg>
          <pc:spChg chg="mod">
            <ac:chgData name="Daniel Esteban Ortiz Carvajal" userId="c61208ed-cfc9-41db-b98e-8ca1e81cbf8a" providerId="ADAL" clId="{460B01F5-D0D7-4F46-BDC5-EE5905768D06}" dt="2022-08-09T19:52:15.421" v="6903" actId="20577"/>
            <ac:spMkLst>
              <pc:docMk/>
              <pc:sldMasterMk cId="3974739318" sldId="2147483724"/>
              <pc:sldLayoutMk cId="457319693" sldId="2147483732"/>
              <ac:spMk id="16" creationId="{8673FB5C-3E4C-4F59-B132-1117A3A7A0A9}"/>
            </ac:spMkLst>
          </pc:spChg>
          <pc:spChg chg="mod">
            <ac:chgData name="Daniel Esteban Ortiz Carvajal" userId="c61208ed-cfc9-41db-b98e-8ca1e81cbf8a" providerId="ADAL" clId="{460B01F5-D0D7-4F46-BDC5-EE5905768D06}" dt="2022-08-09T19:52:15.426" v="6907" actId="20577"/>
            <ac:spMkLst>
              <pc:docMk/>
              <pc:sldMasterMk cId="3974739318" sldId="2147483724"/>
              <pc:sldLayoutMk cId="457319693" sldId="2147483732"/>
              <ac:spMk id="17" creationId="{2F1BA55D-4BB6-4FB2-9BE6-179E98D86D60}"/>
            </ac:spMkLst>
          </pc:spChg>
          <pc:spChg chg="mod">
            <ac:chgData name="Daniel Esteban Ortiz Carvajal" userId="c61208ed-cfc9-41db-b98e-8ca1e81cbf8a" providerId="ADAL" clId="{460B01F5-D0D7-4F46-BDC5-EE5905768D06}" dt="2022-08-09T19:52:15.435" v="6909" actId="947"/>
            <ac:spMkLst>
              <pc:docMk/>
              <pc:sldMasterMk cId="3974739318" sldId="2147483724"/>
              <pc:sldLayoutMk cId="457319693" sldId="2147483732"/>
              <ac:spMk id="18" creationId="{1F835F81-9557-4E69-A517-F54680822C79}"/>
            </ac:spMkLst>
          </pc:spChg>
          <pc:graphicFrameChg chg="mod ord modVis replST">
            <ac:chgData name="Daniel Esteban Ortiz Carvajal" userId="c61208ed-cfc9-41db-b98e-8ca1e81cbf8a" providerId="ADAL" clId="{460B01F5-D0D7-4F46-BDC5-EE5905768D06}" dt="2022-08-09T19:52:21.056" v="8381" actId="1076"/>
            <ac:graphicFrameMkLst>
              <pc:docMk/>
              <pc:sldMasterMk cId="3974739318" sldId="2147483724"/>
              <pc:sldLayoutMk cId="457319693" sldId="2147483732"/>
              <ac:graphicFrameMk id="2" creationId="{C1CD1001-5F96-4A27-92BF-BD87045FA5BE}"/>
            </ac:graphicFrameMkLst>
          </pc:graphicFrameChg>
        </pc:sldLayoutChg>
        <pc:sldLayoutChg chg="modSp mod">
          <pc:chgData name="Daniel Esteban Ortiz Carvajal" userId="c61208ed-cfc9-41db-b98e-8ca1e81cbf8a" providerId="ADAL" clId="{460B01F5-D0D7-4F46-BDC5-EE5905768D06}" dt="2022-08-09T19:52:21.096" v="8389" actId="1076"/>
          <pc:sldLayoutMkLst>
            <pc:docMk/>
            <pc:sldMasterMk cId="3974739318" sldId="2147483724"/>
            <pc:sldLayoutMk cId="2471908079" sldId="2147483733"/>
          </pc:sldLayoutMkLst>
          <pc:spChg chg="mod">
            <ac:chgData name="Daniel Esteban Ortiz Carvajal" userId="c61208ed-cfc9-41db-b98e-8ca1e81cbf8a" providerId="ADAL" clId="{460B01F5-D0D7-4F46-BDC5-EE5905768D06}" dt="2022-08-09T19:52:15.442" v="6910" actId="790"/>
            <ac:spMkLst>
              <pc:docMk/>
              <pc:sldMasterMk cId="3974739318" sldId="2147483724"/>
              <pc:sldLayoutMk cId="2471908079" sldId="2147483733"/>
              <ac:spMk id="9" creationId="{27214A22-3D9A-4C16-9208-5E45A529FEA9}"/>
            </ac:spMkLst>
          </pc:spChg>
          <pc:spChg chg="mod">
            <ac:chgData name="Daniel Esteban Ortiz Carvajal" userId="c61208ed-cfc9-41db-b98e-8ca1e81cbf8a" providerId="ADAL" clId="{460B01F5-D0D7-4F46-BDC5-EE5905768D06}" dt="2022-08-09T19:52:15.446" v="6911" actId="790"/>
            <ac:spMkLst>
              <pc:docMk/>
              <pc:sldMasterMk cId="3974739318" sldId="2147483724"/>
              <pc:sldLayoutMk cId="2471908079" sldId="2147483733"/>
              <ac:spMk id="10" creationId="{EB5092C0-A9E8-4169-8948-13F47F0D601F}"/>
            </ac:spMkLst>
          </pc:spChg>
          <pc:spChg chg="mod">
            <ac:chgData name="Daniel Esteban Ortiz Carvajal" userId="c61208ed-cfc9-41db-b98e-8ca1e81cbf8a" providerId="ADAL" clId="{460B01F5-D0D7-4F46-BDC5-EE5905768D06}" dt="2022-08-09T19:52:15.451" v="6912" actId="790"/>
            <ac:spMkLst>
              <pc:docMk/>
              <pc:sldMasterMk cId="3974739318" sldId="2147483724"/>
              <pc:sldLayoutMk cId="2471908079" sldId="2147483733"/>
              <ac:spMk id="12" creationId="{0809E568-2108-44E2-9A0C-86CBC3B8149D}"/>
            </ac:spMkLst>
          </pc:spChg>
          <pc:spChg chg="mod">
            <ac:chgData name="Daniel Esteban Ortiz Carvajal" userId="c61208ed-cfc9-41db-b98e-8ca1e81cbf8a" providerId="ADAL" clId="{460B01F5-D0D7-4F46-BDC5-EE5905768D06}" dt="2022-08-09T19:52:15.456" v="6916" actId="20577"/>
            <ac:spMkLst>
              <pc:docMk/>
              <pc:sldMasterMk cId="3974739318" sldId="2147483724"/>
              <pc:sldLayoutMk cId="2471908079" sldId="2147483733"/>
              <ac:spMk id="15" creationId="{AB5ABABD-74B0-4E65-B407-C340E800DF44}"/>
            </ac:spMkLst>
          </pc:spChg>
          <pc:spChg chg="mod">
            <ac:chgData name="Daniel Esteban Ortiz Carvajal" userId="c61208ed-cfc9-41db-b98e-8ca1e81cbf8a" providerId="ADAL" clId="{460B01F5-D0D7-4F46-BDC5-EE5905768D06}" dt="2022-08-09T19:52:15.466" v="6920" actId="20577"/>
            <ac:spMkLst>
              <pc:docMk/>
              <pc:sldMasterMk cId="3974739318" sldId="2147483724"/>
              <pc:sldLayoutMk cId="2471908079" sldId="2147483733"/>
              <ac:spMk id="16" creationId="{CE54408F-CE03-4C7C-BCD9-69857223C906}"/>
            </ac:spMkLst>
          </pc:spChg>
          <pc:spChg chg="mod">
            <ac:chgData name="Daniel Esteban Ortiz Carvajal" userId="c61208ed-cfc9-41db-b98e-8ca1e81cbf8a" providerId="ADAL" clId="{460B01F5-D0D7-4F46-BDC5-EE5905768D06}" dt="2022-08-09T19:52:15.475" v="6924" actId="20577"/>
            <ac:spMkLst>
              <pc:docMk/>
              <pc:sldMasterMk cId="3974739318" sldId="2147483724"/>
              <pc:sldLayoutMk cId="2471908079" sldId="2147483733"/>
              <ac:spMk id="17" creationId="{5ECD472A-E6D1-4444-A994-5D70B9CC6A8B}"/>
            </ac:spMkLst>
          </pc:spChg>
          <pc:spChg chg="mod">
            <ac:chgData name="Daniel Esteban Ortiz Carvajal" userId="c61208ed-cfc9-41db-b98e-8ca1e81cbf8a" providerId="ADAL" clId="{460B01F5-D0D7-4F46-BDC5-EE5905768D06}" dt="2022-08-09T19:52:15.485" v="6926" actId="947"/>
            <ac:spMkLst>
              <pc:docMk/>
              <pc:sldMasterMk cId="3974739318" sldId="2147483724"/>
              <pc:sldLayoutMk cId="2471908079" sldId="2147483733"/>
              <ac:spMk id="18" creationId="{082C6FF3-84D1-48EC-AECF-E8E0C2D79F5B}"/>
            </ac:spMkLst>
          </pc:spChg>
          <pc:graphicFrameChg chg="mod ord modVis replST">
            <ac:chgData name="Daniel Esteban Ortiz Carvajal" userId="c61208ed-cfc9-41db-b98e-8ca1e81cbf8a" providerId="ADAL" clId="{460B01F5-D0D7-4F46-BDC5-EE5905768D06}" dt="2022-08-09T19:52:21.096" v="8389" actId="1076"/>
            <ac:graphicFrameMkLst>
              <pc:docMk/>
              <pc:sldMasterMk cId="3974739318" sldId="2147483724"/>
              <pc:sldLayoutMk cId="2471908079" sldId="2147483733"/>
              <ac:graphicFrameMk id="2" creationId="{7D96797A-A181-407E-84EB-94D8284D66C0}"/>
            </ac:graphicFrameMkLst>
          </pc:graphicFrameChg>
        </pc:sldLayoutChg>
        <pc:sldLayoutChg chg="modSp mod">
          <pc:chgData name="Daniel Esteban Ortiz Carvajal" userId="c61208ed-cfc9-41db-b98e-8ca1e81cbf8a" providerId="ADAL" clId="{460B01F5-D0D7-4F46-BDC5-EE5905768D06}" dt="2022-08-09T19:52:21.136" v="8397" actId="1076"/>
          <pc:sldLayoutMkLst>
            <pc:docMk/>
            <pc:sldMasterMk cId="3974739318" sldId="2147483724"/>
            <pc:sldLayoutMk cId="2181881797" sldId="2147483734"/>
          </pc:sldLayoutMkLst>
          <pc:spChg chg="mod">
            <ac:chgData name="Daniel Esteban Ortiz Carvajal" userId="c61208ed-cfc9-41db-b98e-8ca1e81cbf8a" providerId="ADAL" clId="{460B01F5-D0D7-4F46-BDC5-EE5905768D06}" dt="2022-08-09T19:52:15.485" v="6927" actId="790"/>
            <ac:spMkLst>
              <pc:docMk/>
              <pc:sldMasterMk cId="3974739318" sldId="2147483724"/>
              <pc:sldLayoutMk cId="2181881797" sldId="2147483734"/>
              <ac:spMk id="12" creationId="{4A93F653-AF05-4F82-BC67-EB522D89950F}"/>
            </ac:spMkLst>
          </pc:spChg>
          <pc:spChg chg="mod">
            <ac:chgData name="Daniel Esteban Ortiz Carvajal" userId="c61208ed-cfc9-41db-b98e-8ca1e81cbf8a" providerId="ADAL" clId="{460B01F5-D0D7-4F46-BDC5-EE5905768D06}" dt="2022-08-09T19:52:15.495" v="6928" actId="790"/>
            <ac:spMkLst>
              <pc:docMk/>
              <pc:sldMasterMk cId="3974739318" sldId="2147483724"/>
              <pc:sldLayoutMk cId="2181881797" sldId="2147483734"/>
              <ac:spMk id="13" creationId="{223D932F-014D-482F-B3D8-5339B9B3DAC8}"/>
            </ac:spMkLst>
          </pc:spChg>
          <pc:spChg chg="mod">
            <ac:chgData name="Daniel Esteban Ortiz Carvajal" userId="c61208ed-cfc9-41db-b98e-8ca1e81cbf8a" providerId="ADAL" clId="{460B01F5-D0D7-4F46-BDC5-EE5905768D06}" dt="2022-08-09T19:52:15.501" v="6929" actId="790"/>
            <ac:spMkLst>
              <pc:docMk/>
              <pc:sldMasterMk cId="3974739318" sldId="2147483724"/>
              <pc:sldLayoutMk cId="2181881797" sldId="2147483734"/>
              <ac:spMk id="14" creationId="{260AEEAB-4780-4D46-A451-6C5A7BACBE8E}"/>
            </ac:spMkLst>
          </pc:spChg>
          <pc:spChg chg="mod">
            <ac:chgData name="Daniel Esteban Ortiz Carvajal" userId="c61208ed-cfc9-41db-b98e-8ca1e81cbf8a" providerId="ADAL" clId="{460B01F5-D0D7-4F46-BDC5-EE5905768D06}" dt="2022-08-09T19:52:15.514" v="6933" actId="20577"/>
            <ac:spMkLst>
              <pc:docMk/>
              <pc:sldMasterMk cId="3974739318" sldId="2147483724"/>
              <pc:sldLayoutMk cId="2181881797" sldId="2147483734"/>
              <ac:spMk id="15" creationId="{104CBE78-6FFA-4E60-87E8-B02AFFC815E8}"/>
            </ac:spMkLst>
          </pc:spChg>
          <pc:spChg chg="mod">
            <ac:chgData name="Daniel Esteban Ortiz Carvajal" userId="c61208ed-cfc9-41db-b98e-8ca1e81cbf8a" providerId="ADAL" clId="{460B01F5-D0D7-4F46-BDC5-EE5905768D06}" dt="2022-08-09T19:52:15.526" v="6937" actId="20577"/>
            <ac:spMkLst>
              <pc:docMk/>
              <pc:sldMasterMk cId="3974739318" sldId="2147483724"/>
              <pc:sldLayoutMk cId="2181881797" sldId="2147483734"/>
              <ac:spMk id="16" creationId="{0FCDA8B5-5B0E-447E-BC24-7822935709AA}"/>
            </ac:spMkLst>
          </pc:spChg>
          <pc:spChg chg="mod">
            <ac:chgData name="Daniel Esteban Ortiz Carvajal" userId="c61208ed-cfc9-41db-b98e-8ca1e81cbf8a" providerId="ADAL" clId="{460B01F5-D0D7-4F46-BDC5-EE5905768D06}" dt="2022-08-09T19:52:15.526" v="6941" actId="20577"/>
            <ac:spMkLst>
              <pc:docMk/>
              <pc:sldMasterMk cId="3974739318" sldId="2147483724"/>
              <pc:sldLayoutMk cId="2181881797" sldId="2147483734"/>
              <ac:spMk id="17" creationId="{BB8D3BA7-2959-4299-BB90-3D7E1E167DE8}"/>
            </ac:spMkLst>
          </pc:spChg>
          <pc:spChg chg="mod">
            <ac:chgData name="Daniel Esteban Ortiz Carvajal" userId="c61208ed-cfc9-41db-b98e-8ca1e81cbf8a" providerId="ADAL" clId="{460B01F5-D0D7-4F46-BDC5-EE5905768D06}" dt="2022-08-09T19:52:15.536" v="6943" actId="947"/>
            <ac:spMkLst>
              <pc:docMk/>
              <pc:sldMasterMk cId="3974739318" sldId="2147483724"/>
              <pc:sldLayoutMk cId="2181881797" sldId="2147483734"/>
              <ac:spMk id="18" creationId="{6A262AAF-282A-40DA-B148-566262CC6DF9}"/>
            </ac:spMkLst>
          </pc:spChg>
          <pc:graphicFrameChg chg="mod ord modVis replST">
            <ac:chgData name="Daniel Esteban Ortiz Carvajal" userId="c61208ed-cfc9-41db-b98e-8ca1e81cbf8a" providerId="ADAL" clId="{460B01F5-D0D7-4F46-BDC5-EE5905768D06}" dt="2022-08-09T19:52:21.136" v="8397" actId="1076"/>
            <ac:graphicFrameMkLst>
              <pc:docMk/>
              <pc:sldMasterMk cId="3974739318" sldId="2147483724"/>
              <pc:sldLayoutMk cId="2181881797" sldId="2147483734"/>
              <ac:graphicFrameMk id="2" creationId="{F9FE6532-2496-45B6-A846-3C841702A58D}"/>
            </ac:graphicFrameMkLst>
          </pc:graphicFrameChg>
        </pc:sldLayoutChg>
        <pc:sldLayoutChg chg="modSp mod">
          <pc:chgData name="Daniel Esteban Ortiz Carvajal" userId="c61208ed-cfc9-41db-b98e-8ca1e81cbf8a" providerId="ADAL" clId="{460B01F5-D0D7-4F46-BDC5-EE5905768D06}" dt="2022-08-09T19:52:21.175" v="8405" actId="1076"/>
          <pc:sldLayoutMkLst>
            <pc:docMk/>
            <pc:sldMasterMk cId="3974739318" sldId="2147483724"/>
            <pc:sldLayoutMk cId="2423426839" sldId="2147483735"/>
          </pc:sldLayoutMkLst>
          <pc:spChg chg="mod">
            <ac:chgData name="Daniel Esteban Ortiz Carvajal" userId="c61208ed-cfc9-41db-b98e-8ca1e81cbf8a" providerId="ADAL" clId="{460B01F5-D0D7-4F46-BDC5-EE5905768D06}" dt="2022-08-09T19:52:15.542" v="6944" actId="790"/>
            <ac:spMkLst>
              <pc:docMk/>
              <pc:sldMasterMk cId="3974739318" sldId="2147483724"/>
              <pc:sldLayoutMk cId="2423426839" sldId="2147483735"/>
              <ac:spMk id="12" creationId="{0809E568-2108-44E2-9A0C-86CBC3B8149D}"/>
            </ac:spMkLst>
          </pc:spChg>
          <pc:spChg chg="mod">
            <ac:chgData name="Daniel Esteban Ortiz Carvajal" userId="c61208ed-cfc9-41db-b98e-8ca1e81cbf8a" providerId="ADAL" clId="{460B01F5-D0D7-4F46-BDC5-EE5905768D06}" dt="2022-08-09T19:52:15.546" v="6945" actId="790"/>
            <ac:spMkLst>
              <pc:docMk/>
              <pc:sldMasterMk cId="3974739318" sldId="2147483724"/>
              <pc:sldLayoutMk cId="2423426839" sldId="2147483735"/>
              <ac:spMk id="13" creationId="{D74A208A-6DEC-48DF-B81C-38329753BE62}"/>
            </ac:spMkLst>
          </pc:spChg>
          <pc:spChg chg="mod">
            <ac:chgData name="Daniel Esteban Ortiz Carvajal" userId="c61208ed-cfc9-41db-b98e-8ca1e81cbf8a" providerId="ADAL" clId="{460B01F5-D0D7-4F46-BDC5-EE5905768D06}" dt="2022-08-09T19:52:15.551" v="6946" actId="790"/>
            <ac:spMkLst>
              <pc:docMk/>
              <pc:sldMasterMk cId="3974739318" sldId="2147483724"/>
              <pc:sldLayoutMk cId="2423426839" sldId="2147483735"/>
              <ac:spMk id="14" creationId="{96A37F86-E405-43D2-BD90-1FBBBC40BB33}"/>
            </ac:spMkLst>
          </pc:spChg>
          <pc:spChg chg="mod">
            <ac:chgData name="Daniel Esteban Ortiz Carvajal" userId="c61208ed-cfc9-41db-b98e-8ca1e81cbf8a" providerId="ADAL" clId="{460B01F5-D0D7-4F46-BDC5-EE5905768D06}" dt="2022-08-09T19:52:15.565" v="6950" actId="20577"/>
            <ac:spMkLst>
              <pc:docMk/>
              <pc:sldMasterMk cId="3974739318" sldId="2147483724"/>
              <pc:sldLayoutMk cId="2423426839" sldId="2147483735"/>
              <ac:spMk id="15" creationId="{B2EBA6CA-F1D8-44CB-BD6F-089B3AF45D98}"/>
            </ac:spMkLst>
          </pc:spChg>
          <pc:spChg chg="mod">
            <ac:chgData name="Daniel Esteban Ortiz Carvajal" userId="c61208ed-cfc9-41db-b98e-8ca1e81cbf8a" providerId="ADAL" clId="{460B01F5-D0D7-4F46-BDC5-EE5905768D06}" dt="2022-08-09T19:52:15.575" v="6954" actId="20577"/>
            <ac:spMkLst>
              <pc:docMk/>
              <pc:sldMasterMk cId="3974739318" sldId="2147483724"/>
              <pc:sldLayoutMk cId="2423426839" sldId="2147483735"/>
              <ac:spMk id="16" creationId="{65223D66-3960-4EFE-B8F5-F2503E79880F}"/>
            </ac:spMkLst>
          </pc:spChg>
          <pc:spChg chg="mod">
            <ac:chgData name="Daniel Esteban Ortiz Carvajal" userId="c61208ed-cfc9-41db-b98e-8ca1e81cbf8a" providerId="ADAL" clId="{460B01F5-D0D7-4F46-BDC5-EE5905768D06}" dt="2022-08-09T19:52:15.585" v="6958" actId="20577"/>
            <ac:spMkLst>
              <pc:docMk/>
              <pc:sldMasterMk cId="3974739318" sldId="2147483724"/>
              <pc:sldLayoutMk cId="2423426839" sldId="2147483735"/>
              <ac:spMk id="17" creationId="{14C3B8AF-F46E-4ED2-8001-5073A67D8288}"/>
            </ac:spMkLst>
          </pc:spChg>
          <pc:spChg chg="mod">
            <ac:chgData name="Daniel Esteban Ortiz Carvajal" userId="c61208ed-cfc9-41db-b98e-8ca1e81cbf8a" providerId="ADAL" clId="{460B01F5-D0D7-4F46-BDC5-EE5905768D06}" dt="2022-08-09T19:52:15.585" v="6960" actId="947"/>
            <ac:spMkLst>
              <pc:docMk/>
              <pc:sldMasterMk cId="3974739318" sldId="2147483724"/>
              <pc:sldLayoutMk cId="2423426839" sldId="2147483735"/>
              <ac:spMk id="18" creationId="{0E9E70C8-A3AB-41C8-AB47-44BE84212710}"/>
            </ac:spMkLst>
          </pc:spChg>
          <pc:graphicFrameChg chg="mod ord modVis replST">
            <ac:chgData name="Daniel Esteban Ortiz Carvajal" userId="c61208ed-cfc9-41db-b98e-8ca1e81cbf8a" providerId="ADAL" clId="{460B01F5-D0D7-4F46-BDC5-EE5905768D06}" dt="2022-08-09T19:52:21.175" v="8405" actId="1076"/>
            <ac:graphicFrameMkLst>
              <pc:docMk/>
              <pc:sldMasterMk cId="3974739318" sldId="2147483724"/>
              <pc:sldLayoutMk cId="2423426839" sldId="2147483735"/>
              <ac:graphicFrameMk id="2" creationId="{87EE3FC0-43AB-45CC-94DC-0E751697DBB3}"/>
            </ac:graphicFrameMkLst>
          </pc:graphicFrameChg>
        </pc:sldLayoutChg>
        <pc:sldLayoutChg chg="modSp mod">
          <pc:chgData name="Daniel Esteban Ortiz Carvajal" userId="c61208ed-cfc9-41db-b98e-8ca1e81cbf8a" providerId="ADAL" clId="{460B01F5-D0D7-4F46-BDC5-EE5905768D06}" dt="2022-08-09T19:52:21.216" v="8413" actId="1076"/>
          <pc:sldLayoutMkLst>
            <pc:docMk/>
            <pc:sldMasterMk cId="3974739318" sldId="2147483724"/>
            <pc:sldLayoutMk cId="2795117468" sldId="2147483736"/>
          </pc:sldLayoutMkLst>
          <pc:spChg chg="mod">
            <ac:chgData name="Daniel Esteban Ortiz Carvajal" userId="c61208ed-cfc9-41db-b98e-8ca1e81cbf8a" providerId="ADAL" clId="{460B01F5-D0D7-4F46-BDC5-EE5905768D06}" dt="2022-08-09T19:52:15.596" v="6961" actId="790"/>
            <ac:spMkLst>
              <pc:docMk/>
              <pc:sldMasterMk cId="3974739318" sldId="2147483724"/>
              <pc:sldLayoutMk cId="2795117468" sldId="2147483736"/>
              <ac:spMk id="12" creationId="{4A93F653-AF05-4F82-BC67-EB522D89950F}"/>
            </ac:spMkLst>
          </pc:spChg>
          <pc:spChg chg="mod">
            <ac:chgData name="Daniel Esteban Ortiz Carvajal" userId="c61208ed-cfc9-41db-b98e-8ca1e81cbf8a" providerId="ADAL" clId="{460B01F5-D0D7-4F46-BDC5-EE5905768D06}" dt="2022-08-09T19:52:15.596" v="6962" actId="790"/>
            <ac:spMkLst>
              <pc:docMk/>
              <pc:sldMasterMk cId="3974739318" sldId="2147483724"/>
              <pc:sldLayoutMk cId="2795117468" sldId="2147483736"/>
              <ac:spMk id="13" creationId="{C442F4F6-05FA-4545-9442-2E7F386CB9A7}"/>
            </ac:spMkLst>
          </pc:spChg>
          <pc:spChg chg="mod">
            <ac:chgData name="Daniel Esteban Ortiz Carvajal" userId="c61208ed-cfc9-41db-b98e-8ca1e81cbf8a" providerId="ADAL" clId="{460B01F5-D0D7-4F46-BDC5-EE5905768D06}" dt="2022-08-09T19:52:15.606" v="6963" actId="790"/>
            <ac:spMkLst>
              <pc:docMk/>
              <pc:sldMasterMk cId="3974739318" sldId="2147483724"/>
              <pc:sldLayoutMk cId="2795117468" sldId="2147483736"/>
              <ac:spMk id="14" creationId="{0BF489C5-9A89-40FA-926F-B3E5D513197A}"/>
            </ac:spMkLst>
          </pc:spChg>
          <pc:spChg chg="mod">
            <ac:chgData name="Daniel Esteban Ortiz Carvajal" userId="c61208ed-cfc9-41db-b98e-8ca1e81cbf8a" providerId="ADAL" clId="{460B01F5-D0D7-4F46-BDC5-EE5905768D06}" dt="2022-08-09T19:52:15.621" v="6967" actId="20577"/>
            <ac:spMkLst>
              <pc:docMk/>
              <pc:sldMasterMk cId="3974739318" sldId="2147483724"/>
              <pc:sldLayoutMk cId="2795117468" sldId="2147483736"/>
              <ac:spMk id="15" creationId="{384A9403-B043-4C79-8C3D-9AA0C64ABF29}"/>
            </ac:spMkLst>
          </pc:spChg>
          <pc:spChg chg="mod">
            <ac:chgData name="Daniel Esteban Ortiz Carvajal" userId="c61208ed-cfc9-41db-b98e-8ca1e81cbf8a" providerId="ADAL" clId="{460B01F5-D0D7-4F46-BDC5-EE5905768D06}" dt="2022-08-09T19:52:15.626" v="6971" actId="20577"/>
            <ac:spMkLst>
              <pc:docMk/>
              <pc:sldMasterMk cId="3974739318" sldId="2147483724"/>
              <pc:sldLayoutMk cId="2795117468" sldId="2147483736"/>
              <ac:spMk id="16" creationId="{2FA90AD7-BFAA-46F0-A643-86558B617223}"/>
            </ac:spMkLst>
          </pc:spChg>
          <pc:spChg chg="mod">
            <ac:chgData name="Daniel Esteban Ortiz Carvajal" userId="c61208ed-cfc9-41db-b98e-8ca1e81cbf8a" providerId="ADAL" clId="{460B01F5-D0D7-4F46-BDC5-EE5905768D06}" dt="2022-08-09T19:52:15.642" v="6975" actId="20577"/>
            <ac:spMkLst>
              <pc:docMk/>
              <pc:sldMasterMk cId="3974739318" sldId="2147483724"/>
              <pc:sldLayoutMk cId="2795117468" sldId="2147483736"/>
              <ac:spMk id="17" creationId="{8052D7FE-67FE-40DD-844E-E5BBA5FE6528}"/>
            </ac:spMkLst>
          </pc:spChg>
          <pc:spChg chg="mod">
            <ac:chgData name="Daniel Esteban Ortiz Carvajal" userId="c61208ed-cfc9-41db-b98e-8ca1e81cbf8a" providerId="ADAL" clId="{460B01F5-D0D7-4F46-BDC5-EE5905768D06}" dt="2022-08-09T19:52:15.650" v="6977" actId="947"/>
            <ac:spMkLst>
              <pc:docMk/>
              <pc:sldMasterMk cId="3974739318" sldId="2147483724"/>
              <pc:sldLayoutMk cId="2795117468" sldId="2147483736"/>
              <ac:spMk id="18" creationId="{00560540-78E4-46E1-A167-EB9CD3CD17BB}"/>
            </ac:spMkLst>
          </pc:spChg>
          <pc:graphicFrameChg chg="mod ord modVis replST">
            <ac:chgData name="Daniel Esteban Ortiz Carvajal" userId="c61208ed-cfc9-41db-b98e-8ca1e81cbf8a" providerId="ADAL" clId="{460B01F5-D0D7-4F46-BDC5-EE5905768D06}" dt="2022-08-09T19:52:21.216" v="8413" actId="1076"/>
            <ac:graphicFrameMkLst>
              <pc:docMk/>
              <pc:sldMasterMk cId="3974739318" sldId="2147483724"/>
              <pc:sldLayoutMk cId="2795117468" sldId="2147483736"/>
              <ac:graphicFrameMk id="2" creationId="{BB572172-B803-41F9-9519-AB7C5FD49E19}"/>
            </ac:graphicFrameMkLst>
          </pc:graphicFrameChg>
        </pc:sldLayoutChg>
        <pc:sldLayoutChg chg="modSp mod">
          <pc:chgData name="Daniel Esteban Ortiz Carvajal" userId="c61208ed-cfc9-41db-b98e-8ca1e81cbf8a" providerId="ADAL" clId="{460B01F5-D0D7-4F46-BDC5-EE5905768D06}" dt="2022-08-09T19:52:21.256" v="8421" actId="1076"/>
          <pc:sldLayoutMkLst>
            <pc:docMk/>
            <pc:sldMasterMk cId="3974739318" sldId="2147483724"/>
            <pc:sldLayoutMk cId="2062502351" sldId="2147483737"/>
          </pc:sldLayoutMkLst>
          <pc:spChg chg="mod">
            <ac:chgData name="Daniel Esteban Ortiz Carvajal" userId="c61208ed-cfc9-41db-b98e-8ca1e81cbf8a" providerId="ADAL" clId="{460B01F5-D0D7-4F46-BDC5-EE5905768D06}" dt="2022-08-09T19:52:15.650" v="6978" actId="790"/>
            <ac:spMkLst>
              <pc:docMk/>
              <pc:sldMasterMk cId="3974739318" sldId="2147483724"/>
              <pc:sldLayoutMk cId="2062502351" sldId="2147483737"/>
              <ac:spMk id="12" creationId="{0809E568-2108-44E2-9A0C-86CBC3B8149D}"/>
            </ac:spMkLst>
          </pc:spChg>
          <pc:spChg chg="mod">
            <ac:chgData name="Daniel Esteban Ortiz Carvajal" userId="c61208ed-cfc9-41db-b98e-8ca1e81cbf8a" providerId="ADAL" clId="{460B01F5-D0D7-4F46-BDC5-EE5905768D06}" dt="2022-08-09T19:52:15.660" v="6979" actId="790"/>
            <ac:spMkLst>
              <pc:docMk/>
              <pc:sldMasterMk cId="3974739318" sldId="2147483724"/>
              <pc:sldLayoutMk cId="2062502351" sldId="2147483737"/>
              <ac:spMk id="13" creationId="{99E841DA-26E1-4F5F-977B-400BA9FA5A20}"/>
            </ac:spMkLst>
          </pc:spChg>
          <pc:spChg chg="mod">
            <ac:chgData name="Daniel Esteban Ortiz Carvajal" userId="c61208ed-cfc9-41db-b98e-8ca1e81cbf8a" providerId="ADAL" clId="{460B01F5-D0D7-4F46-BDC5-EE5905768D06}" dt="2022-08-09T19:52:15.666" v="6980" actId="790"/>
            <ac:spMkLst>
              <pc:docMk/>
              <pc:sldMasterMk cId="3974739318" sldId="2147483724"/>
              <pc:sldLayoutMk cId="2062502351" sldId="2147483737"/>
              <ac:spMk id="14" creationId="{D9532373-225D-4C87-937F-0A6BEADB436F}"/>
            </ac:spMkLst>
          </pc:spChg>
          <pc:spChg chg="mod">
            <ac:chgData name="Daniel Esteban Ortiz Carvajal" userId="c61208ed-cfc9-41db-b98e-8ca1e81cbf8a" providerId="ADAL" clId="{460B01F5-D0D7-4F46-BDC5-EE5905768D06}" dt="2022-08-09T19:52:15.676" v="6984" actId="20577"/>
            <ac:spMkLst>
              <pc:docMk/>
              <pc:sldMasterMk cId="3974739318" sldId="2147483724"/>
              <pc:sldLayoutMk cId="2062502351" sldId="2147483737"/>
              <ac:spMk id="15" creationId="{B800C4E5-CEA5-4902-AD35-29D64DD3ABB3}"/>
            </ac:spMkLst>
          </pc:spChg>
          <pc:spChg chg="mod">
            <ac:chgData name="Daniel Esteban Ortiz Carvajal" userId="c61208ed-cfc9-41db-b98e-8ca1e81cbf8a" providerId="ADAL" clId="{460B01F5-D0D7-4F46-BDC5-EE5905768D06}" dt="2022-08-09T19:52:15.686" v="6988" actId="20577"/>
            <ac:spMkLst>
              <pc:docMk/>
              <pc:sldMasterMk cId="3974739318" sldId="2147483724"/>
              <pc:sldLayoutMk cId="2062502351" sldId="2147483737"/>
              <ac:spMk id="16" creationId="{C40CA3F7-4763-4D71-9465-6729461CE939}"/>
            </ac:spMkLst>
          </pc:spChg>
          <pc:spChg chg="mod">
            <ac:chgData name="Daniel Esteban Ortiz Carvajal" userId="c61208ed-cfc9-41db-b98e-8ca1e81cbf8a" providerId="ADAL" clId="{460B01F5-D0D7-4F46-BDC5-EE5905768D06}" dt="2022-08-09T19:52:15.696" v="6992" actId="20577"/>
            <ac:spMkLst>
              <pc:docMk/>
              <pc:sldMasterMk cId="3974739318" sldId="2147483724"/>
              <pc:sldLayoutMk cId="2062502351" sldId="2147483737"/>
              <ac:spMk id="17" creationId="{2271616B-48DF-4F95-81E0-98553403C903}"/>
            </ac:spMkLst>
          </pc:spChg>
          <pc:spChg chg="mod">
            <ac:chgData name="Daniel Esteban Ortiz Carvajal" userId="c61208ed-cfc9-41db-b98e-8ca1e81cbf8a" providerId="ADAL" clId="{460B01F5-D0D7-4F46-BDC5-EE5905768D06}" dt="2022-08-09T19:52:15.705" v="6994" actId="947"/>
            <ac:spMkLst>
              <pc:docMk/>
              <pc:sldMasterMk cId="3974739318" sldId="2147483724"/>
              <pc:sldLayoutMk cId="2062502351" sldId="2147483737"/>
              <ac:spMk id="18" creationId="{6F2AA79D-E7C6-4445-AC7F-AB125CC92B9C}"/>
            </ac:spMkLst>
          </pc:spChg>
          <pc:graphicFrameChg chg="mod ord modVis replST">
            <ac:chgData name="Daniel Esteban Ortiz Carvajal" userId="c61208ed-cfc9-41db-b98e-8ca1e81cbf8a" providerId="ADAL" clId="{460B01F5-D0D7-4F46-BDC5-EE5905768D06}" dt="2022-08-09T19:52:21.256" v="8421" actId="1076"/>
            <ac:graphicFrameMkLst>
              <pc:docMk/>
              <pc:sldMasterMk cId="3974739318" sldId="2147483724"/>
              <pc:sldLayoutMk cId="2062502351" sldId="2147483737"/>
              <ac:graphicFrameMk id="2" creationId="{035D36B7-F228-4A65-B6A3-B83815C31C0B}"/>
            </ac:graphicFrameMkLst>
          </pc:graphicFrameChg>
        </pc:sldLayoutChg>
        <pc:sldLayoutChg chg="modSp mod">
          <pc:chgData name="Daniel Esteban Ortiz Carvajal" userId="c61208ed-cfc9-41db-b98e-8ca1e81cbf8a" providerId="ADAL" clId="{460B01F5-D0D7-4F46-BDC5-EE5905768D06}" dt="2022-08-09T19:52:21.301" v="8429" actId="1076"/>
          <pc:sldLayoutMkLst>
            <pc:docMk/>
            <pc:sldMasterMk cId="3974739318" sldId="2147483724"/>
            <pc:sldLayoutMk cId="3434536939" sldId="2147483738"/>
          </pc:sldLayoutMkLst>
          <pc:spChg chg="mod">
            <ac:chgData name="Daniel Esteban Ortiz Carvajal" userId="c61208ed-cfc9-41db-b98e-8ca1e81cbf8a" providerId="ADAL" clId="{460B01F5-D0D7-4F46-BDC5-EE5905768D06}" dt="2022-08-09T19:52:15.705" v="6995" actId="790"/>
            <ac:spMkLst>
              <pc:docMk/>
              <pc:sldMasterMk cId="3974739318" sldId="2147483724"/>
              <pc:sldLayoutMk cId="3434536939" sldId="2147483738"/>
              <ac:spMk id="12" creationId="{4A93F653-AF05-4F82-BC67-EB522D89950F}"/>
            </ac:spMkLst>
          </pc:spChg>
          <pc:spChg chg="mod">
            <ac:chgData name="Daniel Esteban Ortiz Carvajal" userId="c61208ed-cfc9-41db-b98e-8ca1e81cbf8a" providerId="ADAL" clId="{460B01F5-D0D7-4F46-BDC5-EE5905768D06}" dt="2022-08-09T19:52:15.716" v="6996" actId="790"/>
            <ac:spMkLst>
              <pc:docMk/>
              <pc:sldMasterMk cId="3974739318" sldId="2147483724"/>
              <pc:sldLayoutMk cId="3434536939" sldId="2147483738"/>
              <ac:spMk id="13" creationId="{75F6083B-C879-442B-885F-DED33A7B157C}"/>
            </ac:spMkLst>
          </pc:spChg>
          <pc:spChg chg="mod">
            <ac:chgData name="Daniel Esteban Ortiz Carvajal" userId="c61208ed-cfc9-41db-b98e-8ca1e81cbf8a" providerId="ADAL" clId="{460B01F5-D0D7-4F46-BDC5-EE5905768D06}" dt="2022-08-09T19:52:15.716" v="6997" actId="790"/>
            <ac:spMkLst>
              <pc:docMk/>
              <pc:sldMasterMk cId="3974739318" sldId="2147483724"/>
              <pc:sldLayoutMk cId="3434536939" sldId="2147483738"/>
              <ac:spMk id="14" creationId="{B135B3BC-CF64-4A4B-B490-82D90FF0A06E}"/>
            </ac:spMkLst>
          </pc:spChg>
          <pc:spChg chg="mod">
            <ac:chgData name="Daniel Esteban Ortiz Carvajal" userId="c61208ed-cfc9-41db-b98e-8ca1e81cbf8a" providerId="ADAL" clId="{460B01F5-D0D7-4F46-BDC5-EE5905768D06}" dt="2022-08-09T19:52:15.726" v="7001" actId="20577"/>
            <ac:spMkLst>
              <pc:docMk/>
              <pc:sldMasterMk cId="3974739318" sldId="2147483724"/>
              <pc:sldLayoutMk cId="3434536939" sldId="2147483738"/>
              <ac:spMk id="15" creationId="{19E59F6A-7A4F-46C4-8B3A-DD32BACBAF59}"/>
            </ac:spMkLst>
          </pc:spChg>
          <pc:spChg chg="mod">
            <ac:chgData name="Daniel Esteban Ortiz Carvajal" userId="c61208ed-cfc9-41db-b98e-8ca1e81cbf8a" providerId="ADAL" clId="{460B01F5-D0D7-4F46-BDC5-EE5905768D06}" dt="2022-08-09T19:52:15.746" v="7005" actId="20577"/>
            <ac:spMkLst>
              <pc:docMk/>
              <pc:sldMasterMk cId="3974739318" sldId="2147483724"/>
              <pc:sldLayoutMk cId="3434536939" sldId="2147483738"/>
              <ac:spMk id="16" creationId="{7A33B73E-6B27-4681-88B6-FD257CB62387}"/>
            </ac:spMkLst>
          </pc:spChg>
          <pc:spChg chg="mod">
            <ac:chgData name="Daniel Esteban Ortiz Carvajal" userId="c61208ed-cfc9-41db-b98e-8ca1e81cbf8a" providerId="ADAL" clId="{460B01F5-D0D7-4F46-BDC5-EE5905768D06}" dt="2022-08-09T19:52:15.760" v="7009" actId="20577"/>
            <ac:spMkLst>
              <pc:docMk/>
              <pc:sldMasterMk cId="3974739318" sldId="2147483724"/>
              <pc:sldLayoutMk cId="3434536939" sldId="2147483738"/>
              <ac:spMk id="17" creationId="{8AF219DC-599C-459F-AA73-23DC14096EFC}"/>
            </ac:spMkLst>
          </pc:spChg>
          <pc:spChg chg="mod">
            <ac:chgData name="Daniel Esteban Ortiz Carvajal" userId="c61208ed-cfc9-41db-b98e-8ca1e81cbf8a" providerId="ADAL" clId="{460B01F5-D0D7-4F46-BDC5-EE5905768D06}" dt="2022-08-09T19:52:15.766" v="7011" actId="947"/>
            <ac:spMkLst>
              <pc:docMk/>
              <pc:sldMasterMk cId="3974739318" sldId="2147483724"/>
              <pc:sldLayoutMk cId="3434536939" sldId="2147483738"/>
              <ac:spMk id="18" creationId="{18DD6AF5-F80B-4ABA-9134-673A86CF2EBB}"/>
            </ac:spMkLst>
          </pc:spChg>
          <pc:graphicFrameChg chg="mod ord modVis replST">
            <ac:chgData name="Daniel Esteban Ortiz Carvajal" userId="c61208ed-cfc9-41db-b98e-8ca1e81cbf8a" providerId="ADAL" clId="{460B01F5-D0D7-4F46-BDC5-EE5905768D06}" dt="2022-08-09T19:52:21.301" v="8429" actId="1076"/>
            <ac:graphicFrameMkLst>
              <pc:docMk/>
              <pc:sldMasterMk cId="3974739318" sldId="2147483724"/>
              <pc:sldLayoutMk cId="3434536939" sldId="2147483738"/>
              <ac:graphicFrameMk id="2" creationId="{72795F55-6FDD-4C0A-9892-B26DD5EFA53B}"/>
            </ac:graphicFrameMkLst>
          </pc:graphicFrameChg>
        </pc:sldLayoutChg>
        <pc:sldLayoutChg chg="modSp mod">
          <pc:chgData name="Daniel Esteban Ortiz Carvajal" userId="c61208ed-cfc9-41db-b98e-8ca1e81cbf8a" providerId="ADAL" clId="{460B01F5-D0D7-4F46-BDC5-EE5905768D06}" dt="2022-08-09T19:52:21.336" v="8437" actId="1076"/>
          <pc:sldLayoutMkLst>
            <pc:docMk/>
            <pc:sldMasterMk cId="3974739318" sldId="2147483724"/>
            <pc:sldLayoutMk cId="3530698604" sldId="2147483739"/>
          </pc:sldLayoutMkLst>
          <pc:spChg chg="mod">
            <ac:chgData name="Daniel Esteban Ortiz Carvajal" userId="c61208ed-cfc9-41db-b98e-8ca1e81cbf8a" providerId="ADAL" clId="{460B01F5-D0D7-4F46-BDC5-EE5905768D06}" dt="2022-08-09T19:52:15.766" v="7012" actId="790"/>
            <ac:spMkLst>
              <pc:docMk/>
              <pc:sldMasterMk cId="3974739318" sldId="2147483724"/>
              <pc:sldLayoutMk cId="3530698604" sldId="2147483739"/>
              <ac:spMk id="12" creationId="{0809E568-2108-44E2-9A0C-86CBC3B8149D}"/>
            </ac:spMkLst>
          </pc:spChg>
          <pc:spChg chg="mod">
            <ac:chgData name="Daniel Esteban Ortiz Carvajal" userId="c61208ed-cfc9-41db-b98e-8ca1e81cbf8a" providerId="ADAL" clId="{460B01F5-D0D7-4F46-BDC5-EE5905768D06}" dt="2022-08-09T19:52:15.776" v="7013" actId="790"/>
            <ac:spMkLst>
              <pc:docMk/>
              <pc:sldMasterMk cId="3974739318" sldId="2147483724"/>
              <pc:sldLayoutMk cId="3530698604" sldId="2147483739"/>
              <ac:spMk id="13" creationId="{2F7900AA-85D8-43F1-AEDB-30986D2BB625}"/>
            </ac:spMkLst>
          </pc:spChg>
          <pc:spChg chg="mod">
            <ac:chgData name="Daniel Esteban Ortiz Carvajal" userId="c61208ed-cfc9-41db-b98e-8ca1e81cbf8a" providerId="ADAL" clId="{460B01F5-D0D7-4F46-BDC5-EE5905768D06}" dt="2022-08-09T19:52:15.783" v="7014" actId="790"/>
            <ac:spMkLst>
              <pc:docMk/>
              <pc:sldMasterMk cId="3974739318" sldId="2147483724"/>
              <pc:sldLayoutMk cId="3530698604" sldId="2147483739"/>
              <ac:spMk id="14" creationId="{81345887-E979-4387-A6AB-00F3CA8C2542}"/>
            </ac:spMkLst>
          </pc:spChg>
          <pc:spChg chg="mod">
            <ac:chgData name="Daniel Esteban Ortiz Carvajal" userId="c61208ed-cfc9-41db-b98e-8ca1e81cbf8a" providerId="ADAL" clId="{460B01F5-D0D7-4F46-BDC5-EE5905768D06}" dt="2022-08-09T19:52:15.795" v="7018" actId="20577"/>
            <ac:spMkLst>
              <pc:docMk/>
              <pc:sldMasterMk cId="3974739318" sldId="2147483724"/>
              <pc:sldLayoutMk cId="3530698604" sldId="2147483739"/>
              <ac:spMk id="15" creationId="{EF7EB0E5-31FE-4D50-896A-016C844D0996}"/>
            </ac:spMkLst>
          </pc:spChg>
          <pc:spChg chg="mod">
            <ac:chgData name="Daniel Esteban Ortiz Carvajal" userId="c61208ed-cfc9-41db-b98e-8ca1e81cbf8a" providerId="ADAL" clId="{460B01F5-D0D7-4F46-BDC5-EE5905768D06}" dt="2022-08-09T19:52:15.806" v="7022" actId="20577"/>
            <ac:spMkLst>
              <pc:docMk/>
              <pc:sldMasterMk cId="3974739318" sldId="2147483724"/>
              <pc:sldLayoutMk cId="3530698604" sldId="2147483739"/>
              <ac:spMk id="16" creationId="{0D340BF0-3D6B-42F4-AA52-4CCFDE8771B0}"/>
            </ac:spMkLst>
          </pc:spChg>
          <pc:spChg chg="mod">
            <ac:chgData name="Daniel Esteban Ortiz Carvajal" userId="c61208ed-cfc9-41db-b98e-8ca1e81cbf8a" providerId="ADAL" clId="{460B01F5-D0D7-4F46-BDC5-EE5905768D06}" dt="2022-08-09T19:52:15.818" v="7026" actId="20577"/>
            <ac:spMkLst>
              <pc:docMk/>
              <pc:sldMasterMk cId="3974739318" sldId="2147483724"/>
              <pc:sldLayoutMk cId="3530698604" sldId="2147483739"/>
              <ac:spMk id="17" creationId="{895BF1E1-C96E-47E5-B890-D85082A54158}"/>
            </ac:spMkLst>
          </pc:spChg>
          <pc:spChg chg="mod">
            <ac:chgData name="Daniel Esteban Ortiz Carvajal" userId="c61208ed-cfc9-41db-b98e-8ca1e81cbf8a" providerId="ADAL" clId="{460B01F5-D0D7-4F46-BDC5-EE5905768D06}" dt="2022-08-09T19:52:15.823" v="7028" actId="947"/>
            <ac:spMkLst>
              <pc:docMk/>
              <pc:sldMasterMk cId="3974739318" sldId="2147483724"/>
              <pc:sldLayoutMk cId="3530698604" sldId="2147483739"/>
              <ac:spMk id="18" creationId="{8DE4627C-44FD-413F-8464-A350147F9CBE}"/>
            </ac:spMkLst>
          </pc:spChg>
          <pc:graphicFrameChg chg="mod ord modVis replST">
            <ac:chgData name="Daniel Esteban Ortiz Carvajal" userId="c61208ed-cfc9-41db-b98e-8ca1e81cbf8a" providerId="ADAL" clId="{460B01F5-D0D7-4F46-BDC5-EE5905768D06}" dt="2022-08-09T19:52:21.336" v="8437" actId="1076"/>
            <ac:graphicFrameMkLst>
              <pc:docMk/>
              <pc:sldMasterMk cId="3974739318" sldId="2147483724"/>
              <pc:sldLayoutMk cId="3530698604" sldId="2147483739"/>
              <ac:graphicFrameMk id="2" creationId="{A0A6E41C-FE36-4426-A36F-909A6E723557}"/>
            </ac:graphicFrameMkLst>
          </pc:graphicFrameChg>
        </pc:sldLayoutChg>
        <pc:sldLayoutChg chg="modSp mod">
          <pc:chgData name="Daniel Esteban Ortiz Carvajal" userId="c61208ed-cfc9-41db-b98e-8ca1e81cbf8a" providerId="ADAL" clId="{460B01F5-D0D7-4F46-BDC5-EE5905768D06}" dt="2022-08-09T19:52:21.551" v="8479" actId="1076"/>
          <pc:sldLayoutMkLst>
            <pc:docMk/>
            <pc:sldMasterMk cId="3974739318" sldId="2147483724"/>
            <pc:sldLayoutMk cId="855339724" sldId="2147483740"/>
          </pc:sldLayoutMkLst>
          <pc:spChg chg="mod">
            <ac:chgData name="Daniel Esteban Ortiz Carvajal" userId="c61208ed-cfc9-41db-b98e-8ca1e81cbf8a" providerId="ADAL" clId="{460B01F5-D0D7-4F46-BDC5-EE5905768D06}" dt="2022-08-09T19:52:15.827" v="7029" actId="790"/>
            <ac:spMkLst>
              <pc:docMk/>
              <pc:sldMasterMk cId="3974739318" sldId="2147483724"/>
              <pc:sldLayoutMk cId="855339724" sldId="2147483740"/>
              <ac:spMk id="12" creationId="{4A93F653-AF05-4F82-BC67-EB522D89950F}"/>
            </ac:spMkLst>
          </pc:spChg>
          <pc:spChg chg="mod">
            <ac:chgData name="Daniel Esteban Ortiz Carvajal" userId="c61208ed-cfc9-41db-b98e-8ca1e81cbf8a" providerId="ADAL" clId="{460B01F5-D0D7-4F46-BDC5-EE5905768D06}" dt="2022-08-09T19:52:15.833" v="7030" actId="790"/>
            <ac:spMkLst>
              <pc:docMk/>
              <pc:sldMasterMk cId="3974739318" sldId="2147483724"/>
              <pc:sldLayoutMk cId="855339724" sldId="2147483740"/>
              <ac:spMk id="13" creationId="{7D0CDA2A-F294-4A8C-898C-8C948918B21D}"/>
            </ac:spMkLst>
          </pc:spChg>
          <pc:spChg chg="mod">
            <ac:chgData name="Daniel Esteban Ortiz Carvajal" userId="c61208ed-cfc9-41db-b98e-8ca1e81cbf8a" providerId="ADAL" clId="{460B01F5-D0D7-4F46-BDC5-EE5905768D06}" dt="2022-08-09T19:52:15.838" v="7031" actId="790"/>
            <ac:spMkLst>
              <pc:docMk/>
              <pc:sldMasterMk cId="3974739318" sldId="2147483724"/>
              <pc:sldLayoutMk cId="855339724" sldId="2147483740"/>
              <ac:spMk id="14" creationId="{46418D62-A8CD-414C-B79F-CB58AC700635}"/>
            </ac:spMkLst>
          </pc:spChg>
          <pc:spChg chg="mod">
            <ac:chgData name="Daniel Esteban Ortiz Carvajal" userId="c61208ed-cfc9-41db-b98e-8ca1e81cbf8a" providerId="ADAL" clId="{460B01F5-D0D7-4F46-BDC5-EE5905768D06}" dt="2022-08-09T19:52:15.850" v="7035" actId="20577"/>
            <ac:spMkLst>
              <pc:docMk/>
              <pc:sldMasterMk cId="3974739318" sldId="2147483724"/>
              <pc:sldLayoutMk cId="855339724" sldId="2147483740"/>
              <ac:spMk id="15" creationId="{9F87BC64-2C9D-43F5-BA7B-1C31CBE8E7BB}"/>
            </ac:spMkLst>
          </pc:spChg>
          <pc:spChg chg="mod">
            <ac:chgData name="Daniel Esteban Ortiz Carvajal" userId="c61208ed-cfc9-41db-b98e-8ca1e81cbf8a" providerId="ADAL" clId="{460B01F5-D0D7-4F46-BDC5-EE5905768D06}" dt="2022-08-09T19:52:15.860" v="7039" actId="20577"/>
            <ac:spMkLst>
              <pc:docMk/>
              <pc:sldMasterMk cId="3974739318" sldId="2147483724"/>
              <pc:sldLayoutMk cId="855339724" sldId="2147483740"/>
              <ac:spMk id="16" creationId="{3D0C79FD-67FA-4768-9237-D32C0741AE6C}"/>
            </ac:spMkLst>
          </pc:spChg>
          <pc:spChg chg="mod">
            <ac:chgData name="Daniel Esteban Ortiz Carvajal" userId="c61208ed-cfc9-41db-b98e-8ca1e81cbf8a" providerId="ADAL" clId="{460B01F5-D0D7-4F46-BDC5-EE5905768D06}" dt="2022-08-09T19:52:15.870" v="7043" actId="20577"/>
            <ac:spMkLst>
              <pc:docMk/>
              <pc:sldMasterMk cId="3974739318" sldId="2147483724"/>
              <pc:sldLayoutMk cId="855339724" sldId="2147483740"/>
              <ac:spMk id="17" creationId="{78EA25B6-1C37-4EB0-9853-C615CD241AC6}"/>
            </ac:spMkLst>
          </pc:spChg>
          <pc:spChg chg="mod">
            <ac:chgData name="Daniel Esteban Ortiz Carvajal" userId="c61208ed-cfc9-41db-b98e-8ca1e81cbf8a" providerId="ADAL" clId="{460B01F5-D0D7-4F46-BDC5-EE5905768D06}" dt="2022-08-09T19:52:15.875" v="7045" actId="947"/>
            <ac:spMkLst>
              <pc:docMk/>
              <pc:sldMasterMk cId="3974739318" sldId="2147483724"/>
              <pc:sldLayoutMk cId="855339724" sldId="2147483740"/>
              <ac:spMk id="18" creationId="{DF5A509B-CCB3-423F-B4B6-847FCA254AF0}"/>
            </ac:spMkLst>
          </pc:spChg>
          <pc:graphicFrameChg chg="mod ord modVis replST">
            <ac:chgData name="Daniel Esteban Ortiz Carvajal" userId="c61208ed-cfc9-41db-b98e-8ca1e81cbf8a" providerId="ADAL" clId="{460B01F5-D0D7-4F46-BDC5-EE5905768D06}" dt="2022-08-09T19:52:21.551" v="8479" actId="1076"/>
            <ac:graphicFrameMkLst>
              <pc:docMk/>
              <pc:sldMasterMk cId="3974739318" sldId="2147483724"/>
              <pc:sldLayoutMk cId="855339724" sldId="2147483740"/>
              <ac:graphicFrameMk id="2" creationId="{774FC8CC-07C7-4CB3-B3B5-0B0B7BFD65F7}"/>
            </ac:graphicFrameMkLst>
          </pc:graphicFrameChg>
        </pc:sldLayoutChg>
        <pc:sldLayoutChg chg="modSp mod">
          <pc:chgData name="Daniel Esteban Ortiz Carvajal" userId="c61208ed-cfc9-41db-b98e-8ca1e81cbf8a" providerId="ADAL" clId="{460B01F5-D0D7-4F46-BDC5-EE5905768D06}" dt="2022-08-09T19:52:21.506" v="8470" actId="1076"/>
          <pc:sldLayoutMkLst>
            <pc:docMk/>
            <pc:sldMasterMk cId="3974739318" sldId="2147483724"/>
            <pc:sldLayoutMk cId="1267228283" sldId="2147483777"/>
          </pc:sldLayoutMkLst>
          <pc:spChg chg="mod">
            <ac:chgData name="Daniel Esteban Ortiz Carvajal" userId="c61208ed-cfc9-41db-b98e-8ca1e81cbf8a" providerId="ADAL" clId="{460B01F5-D0D7-4F46-BDC5-EE5905768D06}" dt="2022-08-09T19:52:15.875" v="7046" actId="790"/>
            <ac:spMkLst>
              <pc:docMk/>
              <pc:sldMasterMk cId="3974739318" sldId="2147483724"/>
              <pc:sldLayoutMk cId="1267228283" sldId="2147483777"/>
              <ac:spMk id="8" creationId="{720E1634-21D2-4359-921B-CAAA3661AFD2}"/>
            </ac:spMkLst>
          </pc:spChg>
          <pc:spChg chg="mod">
            <ac:chgData name="Daniel Esteban Ortiz Carvajal" userId="c61208ed-cfc9-41db-b98e-8ca1e81cbf8a" providerId="ADAL" clId="{460B01F5-D0D7-4F46-BDC5-EE5905768D06}" dt="2022-08-09T19:52:15.886" v="7050" actId="20577"/>
            <ac:spMkLst>
              <pc:docMk/>
              <pc:sldMasterMk cId="3974739318" sldId="2147483724"/>
              <pc:sldLayoutMk cId="1267228283" sldId="2147483777"/>
              <ac:spMk id="11" creationId="{2B43B82D-CF64-4D75-AAE5-C1FCBE62FCC6}"/>
            </ac:spMkLst>
          </pc:spChg>
          <pc:spChg chg="mod">
            <ac:chgData name="Daniel Esteban Ortiz Carvajal" userId="c61208ed-cfc9-41db-b98e-8ca1e81cbf8a" providerId="ADAL" clId="{460B01F5-D0D7-4F46-BDC5-EE5905768D06}" dt="2022-08-09T19:52:15.901" v="7054" actId="20577"/>
            <ac:spMkLst>
              <pc:docMk/>
              <pc:sldMasterMk cId="3974739318" sldId="2147483724"/>
              <pc:sldLayoutMk cId="1267228283" sldId="2147483777"/>
              <ac:spMk id="12" creationId="{4CD68ECF-A7B7-400D-89E5-AE5544C15BD2}"/>
            </ac:spMkLst>
          </pc:spChg>
          <pc:graphicFrameChg chg="mod ord modVis replST">
            <ac:chgData name="Daniel Esteban Ortiz Carvajal" userId="c61208ed-cfc9-41db-b98e-8ca1e81cbf8a" providerId="ADAL" clId="{460B01F5-D0D7-4F46-BDC5-EE5905768D06}" dt="2022-08-09T19:52:21.506" v="8470" actId="1076"/>
            <ac:graphicFrameMkLst>
              <pc:docMk/>
              <pc:sldMasterMk cId="3974739318" sldId="2147483724"/>
              <pc:sldLayoutMk cId="1267228283" sldId="2147483777"/>
              <ac:graphicFrameMk id="2" creationId="{6E922680-530B-4EBC-A457-6F355232B60E}"/>
            </ac:graphicFrameMkLst>
          </pc:graphicFrameChg>
        </pc:sldLayoutChg>
      </pc:sldMasterChg>
      <pc:sldMasterChg chg="addSp modSp mod modSldLayout">
        <pc:chgData name="Daniel Esteban Ortiz Carvajal" userId="c61208ed-cfc9-41db-b98e-8ca1e81cbf8a" providerId="ADAL" clId="{460B01F5-D0D7-4F46-BDC5-EE5905768D06}" dt="2022-08-09T19:52:22.224" v="8599" actId="1076"/>
        <pc:sldMasterMkLst>
          <pc:docMk/>
          <pc:sldMasterMk cId="1020557832" sldId="2147483741"/>
        </pc:sldMasterMkLst>
        <pc:spChg chg="mod">
          <ac:chgData name="Daniel Esteban Ortiz Carvajal" userId="c61208ed-cfc9-41db-b98e-8ca1e81cbf8a" providerId="ADAL" clId="{460B01F5-D0D7-4F46-BDC5-EE5905768D06}" dt="2022-08-09T19:52:15.926" v="7064" actId="947"/>
          <ac:spMkLst>
            <pc:docMk/>
            <pc:sldMasterMk cId="1020557832" sldId="2147483741"/>
            <ac:spMk id="2" creationId="{C7C0C5B5-AB61-4502-B5BC-62B8DAE5750A}"/>
          </ac:spMkLst>
        </pc:spChg>
        <pc:spChg chg="mod">
          <ac:chgData name="Daniel Esteban Ortiz Carvajal" userId="c61208ed-cfc9-41db-b98e-8ca1e81cbf8a" providerId="ADAL" clId="{460B01F5-D0D7-4F46-BDC5-EE5905768D06}" dt="2022-08-09T19:52:15.906" v="7056" actId="947"/>
          <ac:spMkLst>
            <pc:docMk/>
            <pc:sldMasterMk cId="1020557832" sldId="2147483741"/>
            <ac:spMk id="10" creationId="{F7C4D1BB-2EB0-49BF-AE7E-9372E7BA96DA}"/>
          </ac:spMkLst>
        </pc:spChg>
        <pc:spChg chg="mod">
          <ac:chgData name="Daniel Esteban Ortiz Carvajal" userId="c61208ed-cfc9-41db-b98e-8ca1e81cbf8a" providerId="ADAL" clId="{460B01F5-D0D7-4F46-BDC5-EE5905768D06}" dt="2022-08-09T19:52:15.906" v="7058" actId="947"/>
          <ac:spMkLst>
            <pc:docMk/>
            <pc:sldMasterMk cId="1020557832" sldId="2147483741"/>
            <ac:spMk id="12" creationId="{22BC5256-E71C-4329-B0D2-57EB306EB09E}"/>
          </ac:spMkLst>
        </pc:spChg>
        <pc:spChg chg="mod">
          <ac:chgData name="Daniel Esteban Ortiz Carvajal" userId="c61208ed-cfc9-41db-b98e-8ca1e81cbf8a" providerId="ADAL" clId="{460B01F5-D0D7-4F46-BDC5-EE5905768D06}" dt="2022-08-09T19:52:15.916" v="7060" actId="947"/>
          <ac:spMkLst>
            <pc:docMk/>
            <pc:sldMasterMk cId="1020557832" sldId="2147483741"/>
            <ac:spMk id="13" creationId="{2EEF4C37-0467-4DAE-90D2-C40B917D6F58}"/>
          </ac:spMkLst>
        </pc:spChg>
        <pc:spChg chg="mod">
          <ac:chgData name="Daniel Esteban Ortiz Carvajal" userId="c61208ed-cfc9-41db-b98e-8ca1e81cbf8a" providerId="ADAL" clId="{460B01F5-D0D7-4F46-BDC5-EE5905768D06}" dt="2022-08-09T19:52:15.921" v="7062" actId="947"/>
          <ac:spMkLst>
            <pc:docMk/>
            <pc:sldMasterMk cId="1020557832" sldId="2147483741"/>
            <ac:spMk id="14" creationId="{C160E2AD-C245-4753-86B3-928207420532}"/>
          </ac:spMkLst>
        </pc:spChg>
        <pc:spChg chg="mod">
          <ac:chgData name="Daniel Esteban Ortiz Carvajal" userId="c61208ed-cfc9-41db-b98e-8ca1e81cbf8a" providerId="ADAL" clId="{460B01F5-D0D7-4F46-BDC5-EE5905768D06}" dt="2022-08-09T19:52:15.926" v="7066" actId="947"/>
          <ac:spMkLst>
            <pc:docMk/>
            <pc:sldMasterMk cId="1020557832" sldId="2147483741"/>
            <ac:spMk id="15" creationId="{64A771F4-1E68-4056-8981-4014E7E20153}"/>
          </ac:spMkLst>
        </pc:spChg>
        <pc:graphicFrameChg chg="add mod ord modVis replST">
          <ac:chgData name="Daniel Esteban Ortiz Carvajal" userId="c61208ed-cfc9-41db-b98e-8ca1e81cbf8a" providerId="ADAL" clId="{460B01F5-D0D7-4F46-BDC5-EE5905768D06}" dt="2022-08-09T19:52:21.506" v="8471" actId="1076"/>
          <ac:graphicFrameMkLst>
            <pc:docMk/>
            <pc:sldMasterMk cId="1020557832" sldId="2147483741"/>
            <ac:graphicFrameMk id="3" creationId="{0E07810D-FF47-4B9D-A571-A3EAC1877FB9}"/>
          </ac:graphicFrameMkLst>
        </pc:graphicFrameChg>
        <pc:sldLayoutChg chg="delSp modSp mod">
          <pc:chgData name="Daniel Esteban Ortiz Carvajal" userId="c61208ed-cfc9-41db-b98e-8ca1e81cbf8a" providerId="ADAL" clId="{460B01F5-D0D7-4F46-BDC5-EE5905768D06}" dt="2022-08-09T19:52:21.626" v="8497" actId="1076"/>
          <pc:sldLayoutMkLst>
            <pc:docMk/>
            <pc:sldMasterMk cId="1020557832" sldId="2147483741"/>
            <pc:sldLayoutMk cId="1044453797" sldId="2147483742"/>
          </pc:sldLayoutMkLst>
          <pc:spChg chg="del mod modVis">
            <ac:chgData name="Daniel Esteban Ortiz Carvajal" userId="c61208ed-cfc9-41db-b98e-8ca1e81cbf8a" providerId="ADAL" clId="{460B01F5-D0D7-4F46-BDC5-EE5905768D06}" dt="2022-08-09T19:52:21.596" v="8489" actId="478"/>
            <ac:spMkLst>
              <pc:docMk/>
              <pc:sldMasterMk cId="1020557832" sldId="2147483741"/>
              <pc:sldLayoutMk cId="1044453797" sldId="2147483742"/>
              <ac:spMk id="2" creationId="{DA0498E9-1824-4972-B6EB-9C163242B582}"/>
            </ac:spMkLst>
          </pc:spChg>
          <pc:spChg chg="mod">
            <ac:chgData name="Daniel Esteban Ortiz Carvajal" userId="c61208ed-cfc9-41db-b98e-8ca1e81cbf8a" providerId="ADAL" clId="{460B01F5-D0D7-4F46-BDC5-EE5905768D06}" dt="2022-08-09T19:52:17.923" v="7635" actId="948"/>
            <ac:spMkLst>
              <pc:docMk/>
              <pc:sldMasterMk cId="1020557832" sldId="2147483741"/>
              <pc:sldLayoutMk cId="1044453797" sldId="2147483742"/>
              <ac:spMk id="7" creationId="{19EA3DFB-0AB7-4610-B4A4-316F7F6B71FF}"/>
            </ac:spMkLst>
          </pc:spChg>
          <pc:spChg chg="mod">
            <ac:chgData name="Daniel Esteban Ortiz Carvajal" userId="c61208ed-cfc9-41db-b98e-8ca1e81cbf8a" providerId="ADAL" clId="{460B01F5-D0D7-4F46-BDC5-EE5905768D06}" dt="2022-08-09T19:52:15.935" v="7068" actId="790"/>
            <ac:spMkLst>
              <pc:docMk/>
              <pc:sldMasterMk cId="1020557832" sldId="2147483741"/>
              <pc:sldLayoutMk cId="1044453797" sldId="2147483742"/>
              <ac:spMk id="16" creationId="{FE89D51E-21C4-4C23-B753-ADD1DC7586FF}"/>
            </ac:spMkLst>
          </pc:spChg>
          <pc:graphicFrameChg chg="mod ord modVis replST">
            <ac:chgData name="Daniel Esteban Ortiz Carvajal" userId="c61208ed-cfc9-41db-b98e-8ca1e81cbf8a" providerId="ADAL" clId="{460B01F5-D0D7-4F46-BDC5-EE5905768D06}" dt="2022-08-09T19:52:21.626" v="8497" actId="1076"/>
            <ac:graphicFrameMkLst>
              <pc:docMk/>
              <pc:sldMasterMk cId="1020557832" sldId="2147483741"/>
              <pc:sldLayoutMk cId="1044453797" sldId="2147483742"/>
              <ac:graphicFrameMk id="3" creationId="{11021BFA-965D-4A2F-97E8-52D7B6AF4EF4}"/>
            </ac:graphicFrameMkLst>
          </pc:graphicFrameChg>
        </pc:sldLayoutChg>
        <pc:sldLayoutChg chg="delSp modSp mod">
          <pc:chgData name="Daniel Esteban Ortiz Carvajal" userId="c61208ed-cfc9-41db-b98e-8ca1e81cbf8a" providerId="ADAL" clId="{460B01F5-D0D7-4F46-BDC5-EE5905768D06}" dt="2022-08-09T19:52:21.726" v="8515" actId="1076"/>
          <pc:sldLayoutMkLst>
            <pc:docMk/>
            <pc:sldMasterMk cId="1020557832" sldId="2147483741"/>
            <pc:sldLayoutMk cId="1538316525" sldId="2147483743"/>
          </pc:sldLayoutMkLst>
          <pc:spChg chg="del mod modVis">
            <ac:chgData name="Daniel Esteban Ortiz Carvajal" userId="c61208ed-cfc9-41db-b98e-8ca1e81cbf8a" providerId="ADAL" clId="{460B01F5-D0D7-4F46-BDC5-EE5905768D06}" dt="2022-08-09T19:52:21.686" v="8507" actId="478"/>
            <ac:spMkLst>
              <pc:docMk/>
              <pc:sldMasterMk cId="1020557832" sldId="2147483741"/>
              <pc:sldLayoutMk cId="1538316525" sldId="2147483743"/>
              <ac:spMk id="2" creationId="{1A072703-FA84-4FEE-BA55-CF0FB1E4DE54}"/>
            </ac:spMkLst>
          </pc:spChg>
          <pc:spChg chg="mod">
            <ac:chgData name="Daniel Esteban Ortiz Carvajal" userId="c61208ed-cfc9-41db-b98e-8ca1e81cbf8a" providerId="ADAL" clId="{460B01F5-D0D7-4F46-BDC5-EE5905768D06}" dt="2022-08-09T19:52:15.965" v="7073" actId="790"/>
            <ac:spMkLst>
              <pc:docMk/>
              <pc:sldMasterMk cId="1020557832" sldId="2147483741"/>
              <pc:sldLayoutMk cId="1538316525" sldId="2147483743"/>
              <ac:spMk id="6" creationId="{BBDE0159-3FAB-46F7-ADB1-3876951589E5}"/>
            </ac:spMkLst>
          </pc:spChg>
          <pc:spChg chg="mod">
            <ac:chgData name="Daniel Esteban Ortiz Carvajal" userId="c61208ed-cfc9-41db-b98e-8ca1e81cbf8a" providerId="ADAL" clId="{460B01F5-D0D7-4F46-BDC5-EE5905768D06}" dt="2022-08-09T19:52:18.091" v="7707" actId="948"/>
            <ac:spMkLst>
              <pc:docMk/>
              <pc:sldMasterMk cId="1020557832" sldId="2147483741"/>
              <pc:sldLayoutMk cId="1538316525" sldId="2147483743"/>
              <ac:spMk id="7" creationId="{19EA3DFB-0AB7-4610-B4A4-316F7F6B71FF}"/>
            </ac:spMkLst>
          </pc:spChg>
          <pc:spChg chg="mod">
            <ac:chgData name="Daniel Esteban Ortiz Carvajal" userId="c61208ed-cfc9-41db-b98e-8ca1e81cbf8a" providerId="ADAL" clId="{460B01F5-D0D7-4F46-BDC5-EE5905768D06}" dt="2022-08-09T19:52:15.961" v="7072" actId="790"/>
            <ac:spMkLst>
              <pc:docMk/>
              <pc:sldMasterMk cId="1020557832" sldId="2147483741"/>
              <pc:sldLayoutMk cId="1538316525" sldId="2147483743"/>
              <ac:spMk id="8" creationId="{D40CA587-5551-46BE-8553-C0B7B58CD651}"/>
            </ac:spMkLst>
          </pc:spChg>
          <pc:graphicFrameChg chg="mod ord modVis replST">
            <ac:chgData name="Daniel Esteban Ortiz Carvajal" userId="c61208ed-cfc9-41db-b98e-8ca1e81cbf8a" providerId="ADAL" clId="{460B01F5-D0D7-4F46-BDC5-EE5905768D06}" dt="2022-08-09T19:52:21.726" v="8515" actId="1076"/>
            <ac:graphicFrameMkLst>
              <pc:docMk/>
              <pc:sldMasterMk cId="1020557832" sldId="2147483741"/>
              <pc:sldLayoutMk cId="1538316525" sldId="2147483743"/>
              <ac:graphicFrameMk id="3" creationId="{D3E7BB05-188F-4D4D-AB04-698D82F9C097}"/>
            </ac:graphicFrameMkLst>
          </pc:graphicFrameChg>
        </pc:sldLayoutChg>
        <pc:sldLayoutChg chg="delSp modSp mod">
          <pc:chgData name="Daniel Esteban Ortiz Carvajal" userId="c61208ed-cfc9-41db-b98e-8ca1e81cbf8a" providerId="ADAL" clId="{460B01F5-D0D7-4F46-BDC5-EE5905768D06}" dt="2022-08-09T19:52:21.676" v="8506" actId="1076"/>
          <pc:sldLayoutMkLst>
            <pc:docMk/>
            <pc:sldMasterMk cId="1020557832" sldId="2147483741"/>
            <pc:sldLayoutMk cId="3837803634" sldId="2147483744"/>
          </pc:sldLayoutMkLst>
          <pc:spChg chg="del mod modVis">
            <ac:chgData name="Daniel Esteban Ortiz Carvajal" userId="c61208ed-cfc9-41db-b98e-8ca1e81cbf8a" providerId="ADAL" clId="{460B01F5-D0D7-4F46-BDC5-EE5905768D06}" dt="2022-08-09T19:52:21.636" v="8498" actId="478"/>
            <ac:spMkLst>
              <pc:docMk/>
              <pc:sldMasterMk cId="1020557832" sldId="2147483741"/>
              <pc:sldLayoutMk cId="3837803634" sldId="2147483744"/>
              <ac:spMk id="2" creationId="{7ABD2BDF-AC29-4A6A-A360-FD893A2EF451}"/>
            </ac:spMkLst>
          </pc:spChg>
          <pc:spChg chg="mod">
            <ac:chgData name="Daniel Esteban Ortiz Carvajal" userId="c61208ed-cfc9-41db-b98e-8ca1e81cbf8a" providerId="ADAL" clId="{460B01F5-D0D7-4F46-BDC5-EE5905768D06}" dt="2022-08-09T19:52:18.006" v="7671" actId="948"/>
            <ac:spMkLst>
              <pc:docMk/>
              <pc:sldMasterMk cId="1020557832" sldId="2147483741"/>
              <pc:sldLayoutMk cId="3837803634" sldId="2147483744"/>
              <ac:spMk id="7" creationId="{19EA3DFB-0AB7-4610-B4A4-316F7F6B71FF}"/>
            </ac:spMkLst>
          </pc:spChg>
          <pc:spChg chg="mod">
            <ac:chgData name="Daniel Esteban Ortiz Carvajal" userId="c61208ed-cfc9-41db-b98e-8ca1e81cbf8a" providerId="ADAL" clId="{460B01F5-D0D7-4F46-BDC5-EE5905768D06}" dt="2022-08-09T19:52:15.987" v="7076" actId="790"/>
            <ac:spMkLst>
              <pc:docMk/>
              <pc:sldMasterMk cId="1020557832" sldId="2147483741"/>
              <pc:sldLayoutMk cId="3837803634" sldId="2147483744"/>
              <ac:spMk id="8" creationId="{2B26E4EA-D033-4B8E-A02C-5D35A19DC717}"/>
            </ac:spMkLst>
          </pc:spChg>
          <pc:spChg chg="mod">
            <ac:chgData name="Daniel Esteban Ortiz Carvajal" userId="c61208ed-cfc9-41db-b98e-8ca1e81cbf8a" providerId="ADAL" clId="{460B01F5-D0D7-4F46-BDC5-EE5905768D06}" dt="2022-08-09T19:52:15.991" v="7077" actId="790"/>
            <ac:spMkLst>
              <pc:docMk/>
              <pc:sldMasterMk cId="1020557832" sldId="2147483741"/>
              <pc:sldLayoutMk cId="3837803634" sldId="2147483744"/>
              <ac:spMk id="11" creationId="{E97A1BE4-D42E-4857-A733-12409A8FF87F}"/>
            </ac:spMkLst>
          </pc:spChg>
          <pc:spChg chg="mod">
            <ac:chgData name="Daniel Esteban Ortiz Carvajal" userId="c61208ed-cfc9-41db-b98e-8ca1e81cbf8a" providerId="ADAL" clId="{460B01F5-D0D7-4F46-BDC5-EE5905768D06}" dt="2022-08-09T19:52:15.981" v="7075" actId="790"/>
            <ac:spMkLst>
              <pc:docMk/>
              <pc:sldMasterMk cId="1020557832" sldId="2147483741"/>
              <pc:sldLayoutMk cId="3837803634" sldId="2147483744"/>
              <ac:spMk id="14" creationId="{D145B7CB-3B0D-40C8-B905-B30E3285A7A9}"/>
            </ac:spMkLst>
          </pc:spChg>
          <pc:graphicFrameChg chg="mod ord modVis replST">
            <ac:chgData name="Daniel Esteban Ortiz Carvajal" userId="c61208ed-cfc9-41db-b98e-8ca1e81cbf8a" providerId="ADAL" clId="{460B01F5-D0D7-4F46-BDC5-EE5905768D06}" dt="2022-08-09T19:52:21.676" v="8506" actId="1076"/>
            <ac:graphicFrameMkLst>
              <pc:docMk/>
              <pc:sldMasterMk cId="1020557832" sldId="2147483741"/>
              <pc:sldLayoutMk cId="3837803634" sldId="2147483744"/>
              <ac:graphicFrameMk id="3" creationId="{7E484D5A-DDED-4862-B059-FA16A1F0A389}"/>
            </ac:graphicFrameMkLst>
          </pc:graphicFrameChg>
        </pc:sldLayoutChg>
        <pc:sldLayoutChg chg="delSp modSp mod">
          <pc:chgData name="Daniel Esteban Ortiz Carvajal" userId="c61208ed-cfc9-41db-b98e-8ca1e81cbf8a" providerId="ADAL" clId="{460B01F5-D0D7-4F46-BDC5-EE5905768D06}" dt="2022-08-09T19:52:21.766" v="8524" actId="1076"/>
          <pc:sldLayoutMkLst>
            <pc:docMk/>
            <pc:sldMasterMk cId="1020557832" sldId="2147483741"/>
            <pc:sldLayoutMk cId="391759070" sldId="2147483745"/>
          </pc:sldLayoutMkLst>
          <pc:spChg chg="del mod modVis">
            <ac:chgData name="Daniel Esteban Ortiz Carvajal" userId="c61208ed-cfc9-41db-b98e-8ca1e81cbf8a" providerId="ADAL" clId="{460B01F5-D0D7-4F46-BDC5-EE5905768D06}" dt="2022-08-09T19:52:21.726" v="8516" actId="478"/>
            <ac:spMkLst>
              <pc:docMk/>
              <pc:sldMasterMk cId="1020557832" sldId="2147483741"/>
              <pc:sldLayoutMk cId="391759070" sldId="2147483745"/>
              <ac:spMk id="2" creationId="{82EF3141-995E-44EF-9920-9DED7EA2EB86}"/>
            </ac:spMkLst>
          </pc:spChg>
          <pc:spChg chg="mod">
            <ac:chgData name="Daniel Esteban Ortiz Carvajal" userId="c61208ed-cfc9-41db-b98e-8ca1e81cbf8a" providerId="ADAL" clId="{460B01F5-D0D7-4F46-BDC5-EE5905768D06}" dt="2022-08-09T19:52:18.176" v="7743" actId="948"/>
            <ac:spMkLst>
              <pc:docMk/>
              <pc:sldMasterMk cId="1020557832" sldId="2147483741"/>
              <pc:sldLayoutMk cId="391759070" sldId="2147483745"/>
              <ac:spMk id="7" creationId="{19EA3DFB-0AB7-4610-B4A4-316F7F6B71FF}"/>
            </ac:spMkLst>
          </pc:spChg>
          <pc:spChg chg="mod">
            <ac:chgData name="Daniel Esteban Ortiz Carvajal" userId="c61208ed-cfc9-41db-b98e-8ca1e81cbf8a" providerId="ADAL" clId="{460B01F5-D0D7-4F46-BDC5-EE5905768D06}" dt="2022-08-09T19:52:16.012" v="7080" actId="790"/>
            <ac:spMkLst>
              <pc:docMk/>
              <pc:sldMasterMk cId="1020557832" sldId="2147483741"/>
              <pc:sldLayoutMk cId="391759070" sldId="2147483745"/>
              <ac:spMk id="9" creationId="{64B9E202-5D8D-426B-A8AA-7DAB61B19D55}"/>
            </ac:spMkLst>
          </pc:spChg>
          <pc:spChg chg="mod">
            <ac:chgData name="Daniel Esteban Ortiz Carvajal" userId="c61208ed-cfc9-41db-b98e-8ca1e81cbf8a" providerId="ADAL" clId="{460B01F5-D0D7-4F46-BDC5-EE5905768D06}" dt="2022-08-09T19:52:16.019" v="7081" actId="790"/>
            <ac:spMkLst>
              <pc:docMk/>
              <pc:sldMasterMk cId="1020557832" sldId="2147483741"/>
              <pc:sldLayoutMk cId="391759070" sldId="2147483745"/>
              <ac:spMk id="11" creationId="{ADDAF791-ED2C-4893-8742-5A295879E246}"/>
            </ac:spMkLst>
          </pc:spChg>
          <pc:spChg chg="mod">
            <ac:chgData name="Daniel Esteban Ortiz Carvajal" userId="c61208ed-cfc9-41db-b98e-8ca1e81cbf8a" providerId="ADAL" clId="{460B01F5-D0D7-4F46-BDC5-EE5905768D06}" dt="2022-08-09T19:52:16.005" v="7079" actId="790"/>
            <ac:spMkLst>
              <pc:docMk/>
              <pc:sldMasterMk cId="1020557832" sldId="2147483741"/>
              <pc:sldLayoutMk cId="391759070" sldId="2147483745"/>
              <ac:spMk id="14" creationId="{D145B7CB-3B0D-40C8-B905-B30E3285A7A9}"/>
            </ac:spMkLst>
          </pc:spChg>
          <pc:graphicFrameChg chg="mod ord modVis replST">
            <ac:chgData name="Daniel Esteban Ortiz Carvajal" userId="c61208ed-cfc9-41db-b98e-8ca1e81cbf8a" providerId="ADAL" clId="{460B01F5-D0D7-4F46-BDC5-EE5905768D06}" dt="2022-08-09T19:52:21.766" v="8524" actId="1076"/>
            <ac:graphicFrameMkLst>
              <pc:docMk/>
              <pc:sldMasterMk cId="1020557832" sldId="2147483741"/>
              <pc:sldLayoutMk cId="391759070" sldId="2147483745"/>
              <ac:graphicFrameMk id="3" creationId="{AE4D7C3D-1109-472A-B8A7-5C1898E96785}"/>
            </ac:graphicFrameMkLst>
          </pc:graphicFrameChg>
        </pc:sldLayoutChg>
        <pc:sldLayoutChg chg="delSp modSp mod">
          <pc:chgData name="Daniel Esteban Ortiz Carvajal" userId="c61208ed-cfc9-41db-b98e-8ca1e81cbf8a" providerId="ADAL" clId="{460B01F5-D0D7-4F46-BDC5-EE5905768D06}" dt="2022-08-09T19:52:21.816" v="8533" actId="1076"/>
          <pc:sldLayoutMkLst>
            <pc:docMk/>
            <pc:sldMasterMk cId="1020557832" sldId="2147483741"/>
            <pc:sldLayoutMk cId="1346144899" sldId="2147483746"/>
          </pc:sldLayoutMkLst>
          <pc:spChg chg="del mod modVis">
            <ac:chgData name="Daniel Esteban Ortiz Carvajal" userId="c61208ed-cfc9-41db-b98e-8ca1e81cbf8a" providerId="ADAL" clId="{460B01F5-D0D7-4F46-BDC5-EE5905768D06}" dt="2022-08-09T19:52:21.771" v="8525" actId="478"/>
            <ac:spMkLst>
              <pc:docMk/>
              <pc:sldMasterMk cId="1020557832" sldId="2147483741"/>
              <pc:sldLayoutMk cId="1346144899" sldId="2147483746"/>
              <ac:spMk id="2" creationId="{0BF499FF-D75C-43CF-A0F8-FF79AE6C7AF7}"/>
            </ac:spMkLst>
          </pc:spChg>
          <pc:spChg chg="mod">
            <ac:chgData name="Daniel Esteban Ortiz Carvajal" userId="c61208ed-cfc9-41db-b98e-8ca1e81cbf8a" providerId="ADAL" clId="{460B01F5-D0D7-4F46-BDC5-EE5905768D06}" dt="2022-08-09T19:52:16.040" v="7084" actId="790"/>
            <ac:spMkLst>
              <pc:docMk/>
              <pc:sldMasterMk cId="1020557832" sldId="2147483741"/>
              <pc:sldLayoutMk cId="1346144899" sldId="2147483746"/>
              <ac:spMk id="3" creationId="{5AAFEC02-985D-4370-BD47-EF61275E5C57}"/>
            </ac:spMkLst>
          </pc:spChg>
          <pc:spChg chg="mod">
            <ac:chgData name="Daniel Esteban Ortiz Carvajal" userId="c61208ed-cfc9-41db-b98e-8ca1e81cbf8a" providerId="ADAL" clId="{460B01F5-D0D7-4F46-BDC5-EE5905768D06}" dt="2022-08-09T19:52:18.256" v="7779" actId="948"/>
            <ac:spMkLst>
              <pc:docMk/>
              <pc:sldMasterMk cId="1020557832" sldId="2147483741"/>
              <pc:sldLayoutMk cId="1346144899" sldId="2147483746"/>
              <ac:spMk id="7" creationId="{19EA3DFB-0AB7-4610-B4A4-316F7F6B71FF}"/>
            </ac:spMkLst>
          </pc:spChg>
          <pc:spChg chg="mod">
            <ac:chgData name="Daniel Esteban Ortiz Carvajal" userId="c61208ed-cfc9-41db-b98e-8ca1e81cbf8a" providerId="ADAL" clId="{460B01F5-D0D7-4F46-BDC5-EE5905768D06}" dt="2022-08-09T19:52:16.052" v="7086" actId="790"/>
            <ac:spMkLst>
              <pc:docMk/>
              <pc:sldMasterMk cId="1020557832" sldId="2147483741"/>
              <pc:sldLayoutMk cId="1346144899" sldId="2147483746"/>
              <ac:spMk id="8" creationId="{01237A5C-E9E2-48D9-9371-29FE2FA26750}"/>
            </ac:spMkLst>
          </pc:spChg>
          <pc:spChg chg="mod">
            <ac:chgData name="Daniel Esteban Ortiz Carvajal" userId="c61208ed-cfc9-41db-b98e-8ca1e81cbf8a" providerId="ADAL" clId="{460B01F5-D0D7-4F46-BDC5-EE5905768D06}" dt="2022-08-09T19:52:16.046" v="7085" actId="790"/>
            <ac:spMkLst>
              <pc:docMk/>
              <pc:sldMasterMk cId="1020557832" sldId="2147483741"/>
              <pc:sldLayoutMk cId="1346144899" sldId="2147483746"/>
              <ac:spMk id="11" creationId="{7E6107DC-282A-4F70-9FB2-9D4731E3EC05}"/>
            </ac:spMkLst>
          </pc:spChg>
          <pc:spChg chg="mod">
            <ac:chgData name="Daniel Esteban Ortiz Carvajal" userId="c61208ed-cfc9-41db-b98e-8ca1e81cbf8a" providerId="ADAL" clId="{460B01F5-D0D7-4F46-BDC5-EE5905768D06}" dt="2022-08-09T19:52:16.032" v="7083" actId="790"/>
            <ac:spMkLst>
              <pc:docMk/>
              <pc:sldMasterMk cId="1020557832" sldId="2147483741"/>
              <pc:sldLayoutMk cId="1346144899" sldId="2147483746"/>
              <ac:spMk id="14" creationId="{D145B7CB-3B0D-40C8-B905-B30E3285A7A9}"/>
            </ac:spMkLst>
          </pc:spChg>
          <pc:graphicFrameChg chg="mod ord modVis replST">
            <ac:chgData name="Daniel Esteban Ortiz Carvajal" userId="c61208ed-cfc9-41db-b98e-8ca1e81cbf8a" providerId="ADAL" clId="{460B01F5-D0D7-4F46-BDC5-EE5905768D06}" dt="2022-08-09T19:52:21.816" v="8533" actId="1076"/>
            <ac:graphicFrameMkLst>
              <pc:docMk/>
              <pc:sldMasterMk cId="1020557832" sldId="2147483741"/>
              <pc:sldLayoutMk cId="1346144899" sldId="2147483746"/>
              <ac:graphicFrameMk id="4" creationId="{3D237238-9DD0-4CBE-AFC1-DF3F2B845EEA}"/>
            </ac:graphicFrameMkLst>
          </pc:graphicFrameChg>
        </pc:sldLayoutChg>
        <pc:sldLayoutChg chg="modSp mod">
          <pc:chgData name="Daniel Esteban Ortiz Carvajal" userId="c61208ed-cfc9-41db-b98e-8ca1e81cbf8a" providerId="ADAL" clId="{460B01F5-D0D7-4F46-BDC5-EE5905768D06}" dt="2022-08-09T19:52:22.076" v="8575" actId="1076"/>
          <pc:sldLayoutMkLst>
            <pc:docMk/>
            <pc:sldMasterMk cId="1020557832" sldId="2147483741"/>
            <pc:sldLayoutMk cId="23770525" sldId="2147483747"/>
          </pc:sldLayoutMkLst>
          <pc:spChg chg="mod">
            <ac:chgData name="Daniel Esteban Ortiz Carvajal" userId="c61208ed-cfc9-41db-b98e-8ca1e81cbf8a" providerId="ADAL" clId="{460B01F5-D0D7-4F46-BDC5-EE5905768D06}" dt="2022-08-09T19:52:16.155" v="7117" actId="790"/>
            <ac:spMkLst>
              <pc:docMk/>
              <pc:sldMasterMk cId="1020557832" sldId="2147483741"/>
              <pc:sldLayoutMk cId="23770525" sldId="2147483747"/>
              <ac:spMk id="4" creationId="{9786D2C7-4596-4C79-9772-5A9CF300C743}"/>
            </ac:spMkLst>
          </pc:spChg>
          <pc:graphicFrameChg chg="mod ord modVis replST">
            <ac:chgData name="Daniel Esteban Ortiz Carvajal" userId="c61208ed-cfc9-41db-b98e-8ca1e81cbf8a" providerId="ADAL" clId="{460B01F5-D0D7-4F46-BDC5-EE5905768D06}" dt="2022-08-09T19:52:22.076" v="8575" actId="1076"/>
            <ac:graphicFrameMkLst>
              <pc:docMk/>
              <pc:sldMasterMk cId="1020557832" sldId="2147483741"/>
              <pc:sldLayoutMk cId="23770525" sldId="2147483747"/>
              <ac:graphicFrameMk id="2" creationId="{5362DB7F-8C21-4765-8CE1-32D42F414992}"/>
            </ac:graphicFrameMkLst>
          </pc:graphicFrameChg>
        </pc:sldLayoutChg>
        <pc:sldLayoutChg chg="modSp mod">
          <pc:chgData name="Daniel Esteban Ortiz Carvajal" userId="c61208ed-cfc9-41db-b98e-8ca1e81cbf8a" providerId="ADAL" clId="{460B01F5-D0D7-4F46-BDC5-EE5905768D06}" dt="2022-08-09T19:52:22.026" v="8567" actId="1076"/>
          <pc:sldLayoutMkLst>
            <pc:docMk/>
            <pc:sldMasterMk cId="1020557832" sldId="2147483741"/>
            <pc:sldLayoutMk cId="2595452560" sldId="2147483748"/>
          </pc:sldLayoutMkLst>
          <pc:spChg chg="mod">
            <ac:chgData name="Daniel Esteban Ortiz Carvajal" userId="c61208ed-cfc9-41db-b98e-8ca1e81cbf8a" providerId="ADAL" clId="{460B01F5-D0D7-4F46-BDC5-EE5905768D06}" dt="2022-08-09T19:52:16.196" v="7133" actId="20577"/>
            <ac:spMkLst>
              <pc:docMk/>
              <pc:sldMasterMk cId="1020557832" sldId="2147483741"/>
              <pc:sldLayoutMk cId="2595452560" sldId="2147483748"/>
              <ac:spMk id="10" creationId="{72D2E63E-5B0C-43DE-BECA-B67E15DD771C}"/>
            </ac:spMkLst>
          </pc:spChg>
          <pc:spChg chg="mod">
            <ac:chgData name="Daniel Esteban Ortiz Carvajal" userId="c61208ed-cfc9-41db-b98e-8ca1e81cbf8a" providerId="ADAL" clId="{460B01F5-D0D7-4F46-BDC5-EE5905768D06}" dt="2022-08-09T19:52:16.205" v="7137" actId="20577"/>
            <ac:spMkLst>
              <pc:docMk/>
              <pc:sldMasterMk cId="1020557832" sldId="2147483741"/>
              <pc:sldLayoutMk cId="2595452560" sldId="2147483748"/>
              <ac:spMk id="11" creationId="{0AE57519-6BE6-4DB1-AC57-BE593FDB2E9E}"/>
            </ac:spMkLst>
          </pc:spChg>
          <pc:spChg chg="mod">
            <ac:chgData name="Daniel Esteban Ortiz Carvajal" userId="c61208ed-cfc9-41db-b98e-8ca1e81cbf8a" providerId="ADAL" clId="{460B01F5-D0D7-4F46-BDC5-EE5905768D06}" dt="2022-08-09T19:52:16.205" v="7138" actId="790"/>
            <ac:spMkLst>
              <pc:docMk/>
              <pc:sldMasterMk cId="1020557832" sldId="2147483741"/>
              <pc:sldLayoutMk cId="2595452560" sldId="2147483748"/>
              <ac:spMk id="13" creationId="{BFC314AF-EC3B-47AA-8616-2BDBE99DCEE4}"/>
            </ac:spMkLst>
          </pc:spChg>
          <pc:spChg chg="mod">
            <ac:chgData name="Daniel Esteban Ortiz Carvajal" userId="c61208ed-cfc9-41db-b98e-8ca1e81cbf8a" providerId="ADAL" clId="{460B01F5-D0D7-4F46-BDC5-EE5905768D06}" dt="2022-08-09T19:52:16.215" v="7140" actId="947"/>
            <ac:spMkLst>
              <pc:docMk/>
              <pc:sldMasterMk cId="1020557832" sldId="2147483741"/>
              <pc:sldLayoutMk cId="2595452560" sldId="2147483748"/>
              <ac:spMk id="14" creationId="{91DC8C80-CCFB-4193-97AC-12AB4CA7094A}"/>
            </ac:spMkLst>
          </pc:spChg>
          <pc:graphicFrameChg chg="mod ord modVis replST">
            <ac:chgData name="Daniel Esteban Ortiz Carvajal" userId="c61208ed-cfc9-41db-b98e-8ca1e81cbf8a" providerId="ADAL" clId="{460B01F5-D0D7-4F46-BDC5-EE5905768D06}" dt="2022-08-09T19:52:22.026" v="8567" actId="1076"/>
            <ac:graphicFrameMkLst>
              <pc:docMk/>
              <pc:sldMasterMk cId="1020557832" sldId="2147483741"/>
              <pc:sldLayoutMk cId="2595452560" sldId="2147483748"/>
              <ac:graphicFrameMk id="2" creationId="{9EF1097F-377C-402C-BF54-C16D9AF6C4D1}"/>
            </ac:graphicFrameMkLst>
          </pc:graphicFrameChg>
        </pc:sldLayoutChg>
        <pc:sldLayoutChg chg="modSp mod">
          <pc:chgData name="Daniel Esteban Ortiz Carvajal" userId="c61208ed-cfc9-41db-b98e-8ca1e81cbf8a" providerId="ADAL" clId="{460B01F5-D0D7-4F46-BDC5-EE5905768D06}" dt="2022-08-09T19:52:22.116" v="8583" actId="1076"/>
          <pc:sldLayoutMkLst>
            <pc:docMk/>
            <pc:sldMasterMk cId="1020557832" sldId="2147483741"/>
            <pc:sldLayoutMk cId="857368469" sldId="2147483749"/>
          </pc:sldLayoutMkLst>
          <pc:spChg chg="mod">
            <ac:chgData name="Daniel Esteban Ortiz Carvajal" userId="c61208ed-cfc9-41db-b98e-8ca1e81cbf8a" providerId="ADAL" clId="{460B01F5-D0D7-4F46-BDC5-EE5905768D06}" dt="2022-08-09T19:52:16.246" v="7151" actId="947"/>
            <ac:spMkLst>
              <pc:docMk/>
              <pc:sldMasterMk cId="1020557832" sldId="2147483741"/>
              <pc:sldLayoutMk cId="857368469" sldId="2147483749"/>
              <ac:spMk id="6" creationId="{DBAFC930-9629-4B54-B922-0EC23A6BB751}"/>
            </ac:spMkLst>
          </pc:spChg>
          <pc:spChg chg="mod">
            <ac:chgData name="Daniel Esteban Ortiz Carvajal" userId="c61208ed-cfc9-41db-b98e-8ca1e81cbf8a" providerId="ADAL" clId="{460B01F5-D0D7-4F46-BDC5-EE5905768D06}" dt="2022-08-09T19:52:16.226" v="7144" actId="20577"/>
            <ac:spMkLst>
              <pc:docMk/>
              <pc:sldMasterMk cId="1020557832" sldId="2147483741"/>
              <pc:sldLayoutMk cId="857368469" sldId="2147483749"/>
              <ac:spMk id="10" creationId="{72D2E63E-5B0C-43DE-BECA-B67E15DD771C}"/>
            </ac:spMkLst>
          </pc:spChg>
          <pc:spChg chg="mod">
            <ac:chgData name="Daniel Esteban Ortiz Carvajal" userId="c61208ed-cfc9-41db-b98e-8ca1e81cbf8a" providerId="ADAL" clId="{460B01F5-D0D7-4F46-BDC5-EE5905768D06}" dt="2022-08-09T19:52:16.235" v="7148" actId="20577"/>
            <ac:spMkLst>
              <pc:docMk/>
              <pc:sldMasterMk cId="1020557832" sldId="2147483741"/>
              <pc:sldLayoutMk cId="857368469" sldId="2147483749"/>
              <ac:spMk id="11" creationId="{0AE57519-6BE6-4DB1-AC57-BE593FDB2E9E}"/>
            </ac:spMkLst>
          </pc:spChg>
          <pc:spChg chg="mod">
            <ac:chgData name="Daniel Esteban Ortiz Carvajal" userId="c61208ed-cfc9-41db-b98e-8ca1e81cbf8a" providerId="ADAL" clId="{460B01F5-D0D7-4F46-BDC5-EE5905768D06}" dt="2022-08-09T19:52:16.235" v="7149" actId="790"/>
            <ac:spMkLst>
              <pc:docMk/>
              <pc:sldMasterMk cId="1020557832" sldId="2147483741"/>
              <pc:sldLayoutMk cId="857368469" sldId="2147483749"/>
              <ac:spMk id="13" creationId="{BFC314AF-EC3B-47AA-8616-2BDBE99DCEE4}"/>
            </ac:spMkLst>
          </pc:spChg>
          <pc:graphicFrameChg chg="mod ord modVis replST">
            <ac:chgData name="Daniel Esteban Ortiz Carvajal" userId="c61208ed-cfc9-41db-b98e-8ca1e81cbf8a" providerId="ADAL" clId="{460B01F5-D0D7-4F46-BDC5-EE5905768D06}" dt="2022-08-09T19:52:22.116" v="8583" actId="1076"/>
            <ac:graphicFrameMkLst>
              <pc:docMk/>
              <pc:sldMasterMk cId="1020557832" sldId="2147483741"/>
              <pc:sldLayoutMk cId="857368469" sldId="2147483749"/>
              <ac:graphicFrameMk id="2" creationId="{349AE261-EDBF-47A6-AF78-107597461098}"/>
            </ac:graphicFrameMkLst>
          </pc:graphicFrameChg>
        </pc:sldLayoutChg>
        <pc:sldLayoutChg chg="modSp mod">
          <pc:chgData name="Daniel Esteban Ortiz Carvajal" userId="c61208ed-cfc9-41db-b98e-8ca1e81cbf8a" providerId="ADAL" clId="{460B01F5-D0D7-4F46-BDC5-EE5905768D06}" dt="2022-08-09T19:52:22.224" v="8599" actId="1076"/>
          <pc:sldLayoutMkLst>
            <pc:docMk/>
            <pc:sldMasterMk cId="1020557832" sldId="2147483741"/>
            <pc:sldLayoutMk cId="120566614" sldId="2147483750"/>
          </pc:sldLayoutMkLst>
          <pc:spChg chg="mod">
            <ac:chgData name="Daniel Esteban Ortiz Carvajal" userId="c61208ed-cfc9-41db-b98e-8ca1e81cbf8a" providerId="ADAL" clId="{460B01F5-D0D7-4F46-BDC5-EE5905768D06}" dt="2022-08-09T19:52:16.275" v="7162" actId="947"/>
            <ac:spMkLst>
              <pc:docMk/>
              <pc:sldMasterMk cId="1020557832" sldId="2147483741"/>
              <pc:sldLayoutMk cId="120566614" sldId="2147483750"/>
              <ac:spMk id="6" creationId="{957C56DF-EA9F-47A7-B920-B471BFB2D603}"/>
            </ac:spMkLst>
          </pc:spChg>
          <pc:spChg chg="mod">
            <ac:chgData name="Daniel Esteban Ortiz Carvajal" userId="c61208ed-cfc9-41db-b98e-8ca1e81cbf8a" providerId="ADAL" clId="{460B01F5-D0D7-4F46-BDC5-EE5905768D06}" dt="2022-08-09T19:52:16.256" v="7155" actId="20577"/>
            <ac:spMkLst>
              <pc:docMk/>
              <pc:sldMasterMk cId="1020557832" sldId="2147483741"/>
              <pc:sldLayoutMk cId="120566614" sldId="2147483750"/>
              <ac:spMk id="10" creationId="{72D2E63E-5B0C-43DE-BECA-B67E15DD771C}"/>
            </ac:spMkLst>
          </pc:spChg>
          <pc:spChg chg="mod">
            <ac:chgData name="Daniel Esteban Ortiz Carvajal" userId="c61208ed-cfc9-41db-b98e-8ca1e81cbf8a" providerId="ADAL" clId="{460B01F5-D0D7-4F46-BDC5-EE5905768D06}" dt="2022-08-09T19:52:16.266" v="7159" actId="20577"/>
            <ac:spMkLst>
              <pc:docMk/>
              <pc:sldMasterMk cId="1020557832" sldId="2147483741"/>
              <pc:sldLayoutMk cId="120566614" sldId="2147483750"/>
              <ac:spMk id="11" creationId="{0AE57519-6BE6-4DB1-AC57-BE593FDB2E9E}"/>
            </ac:spMkLst>
          </pc:spChg>
          <pc:spChg chg="mod">
            <ac:chgData name="Daniel Esteban Ortiz Carvajal" userId="c61208ed-cfc9-41db-b98e-8ca1e81cbf8a" providerId="ADAL" clId="{460B01F5-D0D7-4F46-BDC5-EE5905768D06}" dt="2022-08-09T19:52:16.266" v="7160" actId="790"/>
            <ac:spMkLst>
              <pc:docMk/>
              <pc:sldMasterMk cId="1020557832" sldId="2147483741"/>
              <pc:sldLayoutMk cId="120566614" sldId="2147483750"/>
              <ac:spMk id="13" creationId="{BFC314AF-EC3B-47AA-8616-2BDBE99DCEE4}"/>
            </ac:spMkLst>
          </pc:spChg>
          <pc:graphicFrameChg chg="mod ord modVis replST">
            <ac:chgData name="Daniel Esteban Ortiz Carvajal" userId="c61208ed-cfc9-41db-b98e-8ca1e81cbf8a" providerId="ADAL" clId="{460B01F5-D0D7-4F46-BDC5-EE5905768D06}" dt="2022-08-09T19:52:22.224" v="8599" actId="1076"/>
            <ac:graphicFrameMkLst>
              <pc:docMk/>
              <pc:sldMasterMk cId="1020557832" sldId="2147483741"/>
              <pc:sldLayoutMk cId="120566614" sldId="2147483750"/>
              <ac:graphicFrameMk id="2" creationId="{85C835E4-09E1-4FC4-B93A-FA3ED1D792E9}"/>
            </ac:graphicFrameMkLst>
          </pc:graphicFrameChg>
        </pc:sldLayoutChg>
        <pc:sldLayoutChg chg="modSp mod">
          <pc:chgData name="Daniel Esteban Ortiz Carvajal" userId="c61208ed-cfc9-41db-b98e-8ca1e81cbf8a" providerId="ADAL" clId="{460B01F5-D0D7-4F46-BDC5-EE5905768D06}" dt="2022-08-09T19:52:22.166" v="8591" actId="1076"/>
          <pc:sldLayoutMkLst>
            <pc:docMk/>
            <pc:sldMasterMk cId="1020557832" sldId="2147483741"/>
            <pc:sldLayoutMk cId="120925186" sldId="2147483751"/>
          </pc:sldLayoutMkLst>
          <pc:spChg chg="mod">
            <ac:chgData name="Daniel Esteban Ortiz Carvajal" userId="c61208ed-cfc9-41db-b98e-8ca1e81cbf8a" providerId="ADAL" clId="{460B01F5-D0D7-4F46-BDC5-EE5905768D06}" dt="2022-08-09T19:52:16.306" v="7173" actId="947"/>
            <ac:spMkLst>
              <pc:docMk/>
              <pc:sldMasterMk cId="1020557832" sldId="2147483741"/>
              <pc:sldLayoutMk cId="120925186" sldId="2147483751"/>
              <ac:spMk id="6" creationId="{5A70F96F-88D3-46F1-A322-B1E2772A59E8}"/>
            </ac:spMkLst>
          </pc:spChg>
          <pc:spChg chg="mod">
            <ac:chgData name="Daniel Esteban Ortiz Carvajal" userId="c61208ed-cfc9-41db-b98e-8ca1e81cbf8a" providerId="ADAL" clId="{460B01F5-D0D7-4F46-BDC5-EE5905768D06}" dt="2022-08-09T19:52:16.286" v="7166" actId="20577"/>
            <ac:spMkLst>
              <pc:docMk/>
              <pc:sldMasterMk cId="1020557832" sldId="2147483741"/>
              <pc:sldLayoutMk cId="120925186" sldId="2147483751"/>
              <ac:spMk id="10" creationId="{72D2E63E-5B0C-43DE-BECA-B67E15DD771C}"/>
            </ac:spMkLst>
          </pc:spChg>
          <pc:spChg chg="mod">
            <ac:chgData name="Daniel Esteban Ortiz Carvajal" userId="c61208ed-cfc9-41db-b98e-8ca1e81cbf8a" providerId="ADAL" clId="{460B01F5-D0D7-4F46-BDC5-EE5905768D06}" dt="2022-08-09T19:52:16.296" v="7170" actId="20577"/>
            <ac:spMkLst>
              <pc:docMk/>
              <pc:sldMasterMk cId="1020557832" sldId="2147483741"/>
              <pc:sldLayoutMk cId="120925186" sldId="2147483751"/>
              <ac:spMk id="11" creationId="{0AE57519-6BE6-4DB1-AC57-BE593FDB2E9E}"/>
            </ac:spMkLst>
          </pc:spChg>
          <pc:spChg chg="mod">
            <ac:chgData name="Daniel Esteban Ortiz Carvajal" userId="c61208ed-cfc9-41db-b98e-8ca1e81cbf8a" providerId="ADAL" clId="{460B01F5-D0D7-4F46-BDC5-EE5905768D06}" dt="2022-08-09T19:52:16.296" v="7171" actId="790"/>
            <ac:spMkLst>
              <pc:docMk/>
              <pc:sldMasterMk cId="1020557832" sldId="2147483741"/>
              <pc:sldLayoutMk cId="120925186" sldId="2147483751"/>
              <ac:spMk id="13" creationId="{BFC314AF-EC3B-47AA-8616-2BDBE99DCEE4}"/>
            </ac:spMkLst>
          </pc:spChg>
          <pc:graphicFrameChg chg="mod ord modVis replST">
            <ac:chgData name="Daniel Esteban Ortiz Carvajal" userId="c61208ed-cfc9-41db-b98e-8ca1e81cbf8a" providerId="ADAL" clId="{460B01F5-D0D7-4F46-BDC5-EE5905768D06}" dt="2022-08-09T19:52:22.166" v="8591" actId="1076"/>
            <ac:graphicFrameMkLst>
              <pc:docMk/>
              <pc:sldMasterMk cId="1020557832" sldId="2147483741"/>
              <pc:sldLayoutMk cId="120925186" sldId="2147483751"/>
              <ac:graphicFrameMk id="2" creationId="{BB92544A-F379-4BC1-B47D-1B0250F26654}"/>
            </ac:graphicFrameMkLst>
          </pc:graphicFrameChg>
        </pc:sldLayoutChg>
        <pc:sldLayoutChg chg="modSp mod">
          <pc:chgData name="Daniel Esteban Ortiz Carvajal" userId="c61208ed-cfc9-41db-b98e-8ca1e81cbf8a" providerId="ADAL" clId="{460B01F5-D0D7-4F46-BDC5-EE5905768D06}" dt="2022-08-09T19:52:20.615" v="8291" actId="1076"/>
          <pc:sldLayoutMkLst>
            <pc:docMk/>
            <pc:sldMasterMk cId="1020557832" sldId="2147483741"/>
            <pc:sldLayoutMk cId="1826014071" sldId="2147483752"/>
          </pc:sldLayoutMkLst>
          <pc:spChg chg="mod">
            <ac:chgData name="Daniel Esteban Ortiz Carvajal" userId="c61208ed-cfc9-41db-b98e-8ca1e81cbf8a" providerId="ADAL" clId="{460B01F5-D0D7-4F46-BDC5-EE5905768D06}" dt="2022-08-09T19:52:16.326" v="7184" actId="947"/>
            <ac:spMkLst>
              <pc:docMk/>
              <pc:sldMasterMk cId="1020557832" sldId="2147483741"/>
              <pc:sldLayoutMk cId="1826014071" sldId="2147483752"/>
              <ac:spMk id="6" creationId="{1C9E5F68-23E6-451F-AC94-54D4EFFBDF2A}"/>
            </ac:spMkLst>
          </pc:spChg>
          <pc:spChg chg="mod">
            <ac:chgData name="Daniel Esteban Ortiz Carvajal" userId="c61208ed-cfc9-41db-b98e-8ca1e81cbf8a" providerId="ADAL" clId="{460B01F5-D0D7-4F46-BDC5-EE5905768D06}" dt="2022-08-09T19:52:16.316" v="7177" actId="20577"/>
            <ac:spMkLst>
              <pc:docMk/>
              <pc:sldMasterMk cId="1020557832" sldId="2147483741"/>
              <pc:sldLayoutMk cId="1826014071" sldId="2147483752"/>
              <ac:spMk id="10" creationId="{72D2E63E-5B0C-43DE-BECA-B67E15DD771C}"/>
            </ac:spMkLst>
          </pc:spChg>
          <pc:spChg chg="mod">
            <ac:chgData name="Daniel Esteban Ortiz Carvajal" userId="c61208ed-cfc9-41db-b98e-8ca1e81cbf8a" providerId="ADAL" clId="{460B01F5-D0D7-4F46-BDC5-EE5905768D06}" dt="2022-08-09T19:52:16.316" v="7181" actId="20577"/>
            <ac:spMkLst>
              <pc:docMk/>
              <pc:sldMasterMk cId="1020557832" sldId="2147483741"/>
              <pc:sldLayoutMk cId="1826014071" sldId="2147483752"/>
              <ac:spMk id="11" creationId="{0AE57519-6BE6-4DB1-AC57-BE593FDB2E9E}"/>
            </ac:spMkLst>
          </pc:spChg>
          <pc:spChg chg="mod">
            <ac:chgData name="Daniel Esteban Ortiz Carvajal" userId="c61208ed-cfc9-41db-b98e-8ca1e81cbf8a" providerId="ADAL" clId="{460B01F5-D0D7-4F46-BDC5-EE5905768D06}" dt="2022-08-09T19:52:16.326" v="7182" actId="790"/>
            <ac:spMkLst>
              <pc:docMk/>
              <pc:sldMasterMk cId="1020557832" sldId="2147483741"/>
              <pc:sldLayoutMk cId="1826014071" sldId="2147483752"/>
              <ac:spMk id="13" creationId="{BFC314AF-EC3B-47AA-8616-2BDBE99DCEE4}"/>
            </ac:spMkLst>
          </pc:spChg>
          <pc:graphicFrameChg chg="mod ord modVis replST">
            <ac:chgData name="Daniel Esteban Ortiz Carvajal" userId="c61208ed-cfc9-41db-b98e-8ca1e81cbf8a" providerId="ADAL" clId="{460B01F5-D0D7-4F46-BDC5-EE5905768D06}" dt="2022-08-09T19:52:20.615" v="8291" actId="1076"/>
            <ac:graphicFrameMkLst>
              <pc:docMk/>
              <pc:sldMasterMk cId="1020557832" sldId="2147483741"/>
              <pc:sldLayoutMk cId="1826014071" sldId="2147483752"/>
              <ac:graphicFrameMk id="2" creationId="{4726B35B-759A-43E9-AE42-1586E32CB4F8}"/>
            </ac:graphicFrameMkLst>
          </pc:graphicFrameChg>
        </pc:sldLayoutChg>
        <pc:sldLayoutChg chg="delSp modSp mod">
          <pc:chgData name="Daniel Esteban Ortiz Carvajal" userId="c61208ed-cfc9-41db-b98e-8ca1e81cbf8a" providerId="ADAL" clId="{460B01F5-D0D7-4F46-BDC5-EE5905768D06}" dt="2022-08-09T19:52:21.876" v="8542" actId="1076"/>
          <pc:sldLayoutMkLst>
            <pc:docMk/>
            <pc:sldMasterMk cId="1020557832" sldId="2147483741"/>
            <pc:sldLayoutMk cId="815111436" sldId="2147483760"/>
          </pc:sldLayoutMkLst>
          <pc:spChg chg="mod">
            <ac:chgData name="Daniel Esteban Ortiz Carvajal" userId="c61208ed-cfc9-41db-b98e-8ca1e81cbf8a" providerId="ADAL" clId="{460B01F5-D0D7-4F46-BDC5-EE5905768D06}" dt="2022-08-09T19:52:16.066" v="7091" actId="20577"/>
            <ac:spMkLst>
              <pc:docMk/>
              <pc:sldMasterMk cId="1020557832" sldId="2147483741"/>
              <pc:sldLayoutMk cId="815111436" sldId="2147483760"/>
              <ac:spMk id="2" creationId="{3096126C-CE19-4811-AFF2-D6D707095734}"/>
            </ac:spMkLst>
          </pc:spChg>
          <pc:spChg chg="mod">
            <ac:chgData name="Daniel Esteban Ortiz Carvajal" userId="c61208ed-cfc9-41db-b98e-8ca1e81cbf8a" providerId="ADAL" clId="{460B01F5-D0D7-4F46-BDC5-EE5905768D06}" dt="2022-08-09T19:52:16.075" v="7092" actId="790"/>
            <ac:spMkLst>
              <pc:docMk/>
              <pc:sldMasterMk cId="1020557832" sldId="2147483741"/>
              <pc:sldLayoutMk cId="815111436" sldId="2147483760"/>
              <ac:spMk id="3" creationId="{5AAFEC02-985D-4370-BD47-EF61275E5C57}"/>
            </ac:spMkLst>
          </pc:spChg>
          <pc:spChg chg="del mod modVis">
            <ac:chgData name="Daniel Esteban Ortiz Carvajal" userId="c61208ed-cfc9-41db-b98e-8ca1e81cbf8a" providerId="ADAL" clId="{460B01F5-D0D7-4F46-BDC5-EE5905768D06}" dt="2022-08-09T19:52:21.826" v="8534" actId="478"/>
            <ac:spMkLst>
              <pc:docMk/>
              <pc:sldMasterMk cId="1020557832" sldId="2147483741"/>
              <pc:sldLayoutMk cId="815111436" sldId="2147483760"/>
              <ac:spMk id="4" creationId="{33E22F5F-5A10-48DB-9F84-F1B0A9FEA880}"/>
            </ac:spMkLst>
          </pc:spChg>
          <pc:spChg chg="mod">
            <ac:chgData name="Daniel Esteban Ortiz Carvajal" userId="c61208ed-cfc9-41db-b98e-8ca1e81cbf8a" providerId="ADAL" clId="{460B01F5-D0D7-4F46-BDC5-EE5905768D06}" dt="2022-08-09T19:52:18.341" v="7815" actId="948"/>
            <ac:spMkLst>
              <pc:docMk/>
              <pc:sldMasterMk cId="1020557832" sldId="2147483741"/>
              <pc:sldLayoutMk cId="815111436" sldId="2147483760"/>
              <ac:spMk id="7" creationId="{19EA3DFB-0AB7-4610-B4A4-316F7F6B71FF}"/>
            </ac:spMkLst>
          </pc:spChg>
          <pc:spChg chg="mod">
            <ac:chgData name="Daniel Esteban Ortiz Carvajal" userId="c61208ed-cfc9-41db-b98e-8ca1e81cbf8a" providerId="ADAL" clId="{460B01F5-D0D7-4F46-BDC5-EE5905768D06}" dt="2022-08-09T19:52:16.090" v="7096" actId="20577"/>
            <ac:spMkLst>
              <pc:docMk/>
              <pc:sldMasterMk cId="1020557832" sldId="2147483741"/>
              <pc:sldLayoutMk cId="815111436" sldId="2147483760"/>
              <ac:spMk id="13" creationId="{FCDBE6E3-B743-4658-983F-BD6A1D46E17B}"/>
            </ac:spMkLst>
          </pc:spChg>
          <pc:spChg chg="mod">
            <ac:chgData name="Daniel Esteban Ortiz Carvajal" userId="c61208ed-cfc9-41db-b98e-8ca1e81cbf8a" providerId="ADAL" clId="{460B01F5-D0D7-4F46-BDC5-EE5905768D06}" dt="2022-08-09T19:52:16.102" v="7101" actId="790"/>
            <ac:spMkLst>
              <pc:docMk/>
              <pc:sldMasterMk cId="1020557832" sldId="2147483741"/>
              <pc:sldLayoutMk cId="815111436" sldId="2147483760"/>
              <ac:spMk id="14" creationId="{1509D13A-52BC-4757-881B-C208AAB0329C}"/>
            </ac:spMkLst>
          </pc:spChg>
          <pc:spChg chg="mod">
            <ac:chgData name="Daniel Esteban Ortiz Carvajal" userId="c61208ed-cfc9-41db-b98e-8ca1e81cbf8a" providerId="ADAL" clId="{460B01F5-D0D7-4F46-BDC5-EE5905768D06}" dt="2022-08-09T19:52:16.099" v="7100" actId="20577"/>
            <ac:spMkLst>
              <pc:docMk/>
              <pc:sldMasterMk cId="1020557832" sldId="2147483741"/>
              <pc:sldLayoutMk cId="815111436" sldId="2147483760"/>
              <ac:spMk id="15" creationId="{CB581E23-2C68-4E3F-9D49-900002047F6C}"/>
            </ac:spMkLst>
          </pc:spChg>
          <pc:graphicFrameChg chg="mod ord modVis replST">
            <ac:chgData name="Daniel Esteban Ortiz Carvajal" userId="c61208ed-cfc9-41db-b98e-8ca1e81cbf8a" providerId="ADAL" clId="{460B01F5-D0D7-4F46-BDC5-EE5905768D06}" dt="2022-08-09T19:52:21.876" v="8542" actId="1076"/>
            <ac:graphicFrameMkLst>
              <pc:docMk/>
              <pc:sldMasterMk cId="1020557832" sldId="2147483741"/>
              <pc:sldLayoutMk cId="815111436" sldId="2147483760"/>
              <ac:graphicFrameMk id="5" creationId="{A8291742-0B3A-4923-89AD-64CEBEB63F63}"/>
            </ac:graphicFrameMkLst>
          </pc:graphicFrameChg>
        </pc:sldLayoutChg>
        <pc:sldLayoutChg chg="delSp modSp mod">
          <pc:chgData name="Daniel Esteban Ortiz Carvajal" userId="c61208ed-cfc9-41db-b98e-8ca1e81cbf8a" providerId="ADAL" clId="{460B01F5-D0D7-4F46-BDC5-EE5905768D06}" dt="2022-08-09T19:52:21.936" v="8551" actId="1076"/>
          <pc:sldLayoutMkLst>
            <pc:docMk/>
            <pc:sldMasterMk cId="1020557832" sldId="2147483741"/>
            <pc:sldLayoutMk cId="1902900345" sldId="2147483761"/>
          </pc:sldLayoutMkLst>
          <pc:spChg chg="mod">
            <ac:chgData name="Daniel Esteban Ortiz Carvajal" userId="c61208ed-cfc9-41db-b98e-8ca1e81cbf8a" providerId="ADAL" clId="{460B01F5-D0D7-4F46-BDC5-EE5905768D06}" dt="2022-08-09T19:52:16.115" v="7106" actId="20577"/>
            <ac:spMkLst>
              <pc:docMk/>
              <pc:sldMasterMk cId="1020557832" sldId="2147483741"/>
              <pc:sldLayoutMk cId="1902900345" sldId="2147483761"/>
              <ac:spMk id="2" creationId="{3096126C-CE19-4811-AFF2-D6D707095734}"/>
            </ac:spMkLst>
          </pc:spChg>
          <pc:spChg chg="mod">
            <ac:chgData name="Daniel Esteban Ortiz Carvajal" userId="c61208ed-cfc9-41db-b98e-8ca1e81cbf8a" providerId="ADAL" clId="{460B01F5-D0D7-4F46-BDC5-EE5905768D06}" dt="2022-08-09T19:52:16.115" v="7107" actId="790"/>
            <ac:spMkLst>
              <pc:docMk/>
              <pc:sldMasterMk cId="1020557832" sldId="2147483741"/>
              <pc:sldLayoutMk cId="1902900345" sldId="2147483761"/>
              <ac:spMk id="3" creationId="{5AAFEC02-985D-4370-BD47-EF61275E5C57}"/>
            </ac:spMkLst>
          </pc:spChg>
          <pc:spChg chg="del mod modVis">
            <ac:chgData name="Daniel Esteban Ortiz Carvajal" userId="c61208ed-cfc9-41db-b98e-8ca1e81cbf8a" providerId="ADAL" clId="{460B01F5-D0D7-4F46-BDC5-EE5905768D06}" dt="2022-08-09T19:52:21.886" v="8543" actId="478"/>
            <ac:spMkLst>
              <pc:docMk/>
              <pc:sldMasterMk cId="1020557832" sldId="2147483741"/>
              <pc:sldLayoutMk cId="1902900345" sldId="2147483761"/>
              <ac:spMk id="4" creationId="{58E73B7A-D63F-4305-8563-424087A8EFD4}"/>
            </ac:spMkLst>
          </pc:spChg>
          <pc:spChg chg="mod">
            <ac:chgData name="Daniel Esteban Ortiz Carvajal" userId="c61208ed-cfc9-41db-b98e-8ca1e81cbf8a" providerId="ADAL" clId="{460B01F5-D0D7-4F46-BDC5-EE5905768D06}" dt="2022-08-09T19:52:18.430" v="7851" actId="948"/>
            <ac:spMkLst>
              <pc:docMk/>
              <pc:sldMasterMk cId="1020557832" sldId="2147483741"/>
              <pc:sldLayoutMk cId="1902900345" sldId="2147483761"/>
              <ac:spMk id="7" creationId="{19EA3DFB-0AB7-4610-B4A4-316F7F6B71FF}"/>
            </ac:spMkLst>
          </pc:spChg>
          <pc:spChg chg="mod">
            <ac:chgData name="Daniel Esteban Ortiz Carvajal" userId="c61208ed-cfc9-41db-b98e-8ca1e81cbf8a" providerId="ADAL" clId="{460B01F5-D0D7-4F46-BDC5-EE5905768D06}" dt="2022-08-09T19:52:16.135" v="7111" actId="20577"/>
            <ac:spMkLst>
              <pc:docMk/>
              <pc:sldMasterMk cId="1020557832" sldId="2147483741"/>
              <pc:sldLayoutMk cId="1902900345" sldId="2147483761"/>
              <ac:spMk id="13" creationId="{FCDBE6E3-B743-4658-983F-BD6A1D46E17B}"/>
            </ac:spMkLst>
          </pc:spChg>
          <pc:spChg chg="mod">
            <ac:chgData name="Daniel Esteban Ortiz Carvajal" userId="c61208ed-cfc9-41db-b98e-8ca1e81cbf8a" providerId="ADAL" clId="{460B01F5-D0D7-4F46-BDC5-EE5905768D06}" dt="2022-08-09T19:52:16.150" v="7116" actId="790"/>
            <ac:spMkLst>
              <pc:docMk/>
              <pc:sldMasterMk cId="1020557832" sldId="2147483741"/>
              <pc:sldLayoutMk cId="1902900345" sldId="2147483761"/>
              <ac:spMk id="14" creationId="{6E54E25E-F424-41B1-89CC-CB91526C1C77}"/>
            </ac:spMkLst>
          </pc:spChg>
          <pc:spChg chg="mod">
            <ac:chgData name="Daniel Esteban Ortiz Carvajal" userId="c61208ed-cfc9-41db-b98e-8ca1e81cbf8a" providerId="ADAL" clId="{460B01F5-D0D7-4F46-BDC5-EE5905768D06}" dt="2022-08-09T19:52:16.145" v="7115" actId="20577"/>
            <ac:spMkLst>
              <pc:docMk/>
              <pc:sldMasterMk cId="1020557832" sldId="2147483741"/>
              <pc:sldLayoutMk cId="1902900345" sldId="2147483761"/>
              <ac:spMk id="15" creationId="{CB581E23-2C68-4E3F-9D49-900002047F6C}"/>
            </ac:spMkLst>
          </pc:spChg>
          <pc:graphicFrameChg chg="mod ord modVis replST">
            <ac:chgData name="Daniel Esteban Ortiz Carvajal" userId="c61208ed-cfc9-41db-b98e-8ca1e81cbf8a" providerId="ADAL" clId="{460B01F5-D0D7-4F46-BDC5-EE5905768D06}" dt="2022-08-09T19:52:21.936" v="8551" actId="1076"/>
            <ac:graphicFrameMkLst>
              <pc:docMk/>
              <pc:sldMasterMk cId="1020557832" sldId="2147483741"/>
              <pc:sldLayoutMk cId="1902900345" sldId="2147483761"/>
              <ac:graphicFrameMk id="5" creationId="{5E93011A-78BD-4029-BBDA-EE0D29FB796B}"/>
            </ac:graphicFrameMkLst>
          </pc:graphicFrameChg>
        </pc:sldLayoutChg>
        <pc:sldLayoutChg chg="modSp mod">
          <pc:chgData name="Daniel Esteban Ortiz Carvajal" userId="c61208ed-cfc9-41db-b98e-8ca1e81cbf8a" providerId="ADAL" clId="{460B01F5-D0D7-4F46-BDC5-EE5905768D06}" dt="2022-08-09T19:52:21.976" v="8559" actId="1076"/>
          <pc:sldLayoutMkLst>
            <pc:docMk/>
            <pc:sldMasterMk cId="1020557832" sldId="2147483741"/>
            <pc:sldLayoutMk cId="313573217" sldId="2147483762"/>
          </pc:sldLayoutMkLst>
          <pc:spChg chg="mod">
            <ac:chgData name="Daniel Esteban Ortiz Carvajal" userId="c61208ed-cfc9-41db-b98e-8ca1e81cbf8a" providerId="ADAL" clId="{460B01F5-D0D7-4F46-BDC5-EE5905768D06}" dt="2022-08-09T19:52:16.171" v="7121" actId="20577"/>
            <ac:spMkLst>
              <pc:docMk/>
              <pc:sldMasterMk cId="1020557832" sldId="2147483741"/>
              <pc:sldLayoutMk cId="313573217" sldId="2147483762"/>
              <ac:spMk id="2" creationId="{8A2A4C0B-C124-4D8D-810D-FDAAD6592F31}"/>
            </ac:spMkLst>
          </pc:spChg>
          <pc:spChg chg="mod">
            <ac:chgData name="Daniel Esteban Ortiz Carvajal" userId="c61208ed-cfc9-41db-b98e-8ca1e81cbf8a" providerId="ADAL" clId="{460B01F5-D0D7-4F46-BDC5-EE5905768D06}" dt="2022-08-09T19:52:16.176" v="7125" actId="20577"/>
            <ac:spMkLst>
              <pc:docMk/>
              <pc:sldMasterMk cId="1020557832" sldId="2147483741"/>
              <pc:sldLayoutMk cId="313573217" sldId="2147483762"/>
              <ac:spMk id="5" creationId="{EB47C545-DD49-44DB-92B3-56FDDC3558B7}"/>
            </ac:spMkLst>
          </pc:spChg>
          <pc:spChg chg="mod">
            <ac:chgData name="Daniel Esteban Ortiz Carvajal" userId="c61208ed-cfc9-41db-b98e-8ca1e81cbf8a" providerId="ADAL" clId="{460B01F5-D0D7-4F46-BDC5-EE5905768D06}" dt="2022-08-09T19:52:16.186" v="7129" actId="20577"/>
            <ac:spMkLst>
              <pc:docMk/>
              <pc:sldMasterMk cId="1020557832" sldId="2147483741"/>
              <pc:sldLayoutMk cId="313573217" sldId="2147483762"/>
              <ac:spMk id="6" creationId="{F3BDEDA7-B7AC-40A7-BE12-2768CB276578}"/>
            </ac:spMkLst>
          </pc:spChg>
          <pc:graphicFrameChg chg="mod ord modVis replST">
            <ac:chgData name="Daniel Esteban Ortiz Carvajal" userId="c61208ed-cfc9-41db-b98e-8ca1e81cbf8a" providerId="ADAL" clId="{460B01F5-D0D7-4F46-BDC5-EE5905768D06}" dt="2022-08-09T19:52:21.976" v="8559" actId="1076"/>
            <ac:graphicFrameMkLst>
              <pc:docMk/>
              <pc:sldMasterMk cId="1020557832" sldId="2147483741"/>
              <pc:sldLayoutMk cId="313573217" sldId="2147483762"/>
              <ac:graphicFrameMk id="3" creationId="{4473A370-9464-457C-8675-35BB19CA65DE}"/>
            </ac:graphicFrameMkLst>
          </pc:graphicFrameChg>
        </pc:sldLayoutChg>
        <pc:sldLayoutChg chg="delSp modSp mod">
          <pc:chgData name="Daniel Esteban Ortiz Carvajal" userId="c61208ed-cfc9-41db-b98e-8ca1e81cbf8a" providerId="ADAL" clId="{460B01F5-D0D7-4F46-BDC5-EE5905768D06}" dt="2022-08-09T19:52:21.596" v="8488" actId="1076"/>
          <pc:sldLayoutMkLst>
            <pc:docMk/>
            <pc:sldMasterMk cId="1020557832" sldId="2147483741"/>
            <pc:sldLayoutMk cId="3580716878" sldId="2147483776"/>
          </pc:sldLayoutMkLst>
          <pc:spChg chg="del mod modVis">
            <ac:chgData name="Daniel Esteban Ortiz Carvajal" userId="c61208ed-cfc9-41db-b98e-8ca1e81cbf8a" providerId="ADAL" clId="{460B01F5-D0D7-4F46-BDC5-EE5905768D06}" dt="2022-08-09T19:52:21.551" v="8480" actId="478"/>
            <ac:spMkLst>
              <pc:docMk/>
              <pc:sldMasterMk cId="1020557832" sldId="2147483741"/>
              <pc:sldLayoutMk cId="3580716878" sldId="2147483776"/>
              <ac:spMk id="2" creationId="{E73E045B-2821-48DA-B7CC-A6C9A0730054}"/>
            </ac:spMkLst>
          </pc:spChg>
          <pc:spChg chg="mod">
            <ac:chgData name="Daniel Esteban Ortiz Carvajal" userId="c61208ed-cfc9-41db-b98e-8ca1e81cbf8a" providerId="ADAL" clId="{460B01F5-D0D7-4F46-BDC5-EE5905768D06}" dt="2022-08-09T19:52:15.950" v="7070" actId="790"/>
            <ac:spMkLst>
              <pc:docMk/>
              <pc:sldMasterMk cId="1020557832" sldId="2147483741"/>
              <pc:sldLayoutMk cId="3580716878" sldId="2147483776"/>
              <ac:spMk id="5" creationId="{13142387-8359-46F6-B9BC-48F694335030}"/>
            </ac:spMkLst>
          </pc:spChg>
          <pc:spChg chg="mod">
            <ac:chgData name="Daniel Esteban Ortiz Carvajal" userId="c61208ed-cfc9-41db-b98e-8ca1e81cbf8a" providerId="ADAL" clId="{460B01F5-D0D7-4F46-BDC5-EE5905768D06}" dt="2022-08-09T19:52:17.825" v="7599" actId="948"/>
            <ac:spMkLst>
              <pc:docMk/>
              <pc:sldMasterMk cId="1020557832" sldId="2147483741"/>
              <pc:sldLayoutMk cId="3580716878" sldId="2147483776"/>
              <ac:spMk id="7" creationId="{19EA3DFB-0AB7-4610-B4A4-316F7F6B71FF}"/>
            </ac:spMkLst>
          </pc:spChg>
          <pc:graphicFrameChg chg="mod ord modVis replST">
            <ac:chgData name="Daniel Esteban Ortiz Carvajal" userId="c61208ed-cfc9-41db-b98e-8ca1e81cbf8a" providerId="ADAL" clId="{460B01F5-D0D7-4F46-BDC5-EE5905768D06}" dt="2022-08-09T19:52:21.596" v="8488" actId="1076"/>
            <ac:graphicFrameMkLst>
              <pc:docMk/>
              <pc:sldMasterMk cId="1020557832" sldId="2147483741"/>
              <pc:sldLayoutMk cId="3580716878" sldId="2147483776"/>
              <ac:graphicFrameMk id="3" creationId="{0C7734AE-D2D3-4842-82C9-D0FA68481B3D}"/>
            </ac:graphicFrameMkLst>
          </pc:graphicFrameChg>
        </pc:sldLayoutChg>
      </pc:sldMasterChg>
      <pc:sldMasterChg chg="addSp modSp mod delSldLayout modSldLayout">
        <pc:chgData name="Daniel Esteban Ortiz Carvajal" userId="c61208ed-cfc9-41db-b98e-8ca1e81cbf8a" providerId="ADAL" clId="{460B01F5-D0D7-4F46-BDC5-EE5905768D06}" dt="2022-08-09T23:01:30.037" v="10521" actId="47"/>
        <pc:sldMasterMkLst>
          <pc:docMk/>
          <pc:sldMasterMk cId="941058978" sldId="2147483753"/>
        </pc:sldMasterMkLst>
        <pc:spChg chg="mod">
          <ac:chgData name="Daniel Esteban Ortiz Carvajal" userId="c61208ed-cfc9-41db-b98e-8ca1e81cbf8a" providerId="ADAL" clId="{460B01F5-D0D7-4F46-BDC5-EE5905768D06}" dt="2022-08-09T19:52:16.355" v="7196" actId="947"/>
          <ac:spMkLst>
            <pc:docMk/>
            <pc:sldMasterMk cId="941058978" sldId="2147483753"/>
            <ac:spMk id="2" creationId="{24167E7F-8F38-4AF1-9EE5-358C7ACB9002}"/>
          </ac:spMkLst>
        </pc:spChg>
        <pc:spChg chg="mod">
          <ac:chgData name="Daniel Esteban Ortiz Carvajal" userId="c61208ed-cfc9-41db-b98e-8ca1e81cbf8a" providerId="ADAL" clId="{460B01F5-D0D7-4F46-BDC5-EE5905768D06}" dt="2022-08-09T19:52:16.336" v="7186" actId="947"/>
          <ac:spMkLst>
            <pc:docMk/>
            <pc:sldMasterMk cId="941058978" sldId="2147483753"/>
            <ac:spMk id="3" creationId="{C5990EDD-30EA-4267-9193-1C48345AE99B}"/>
          </ac:spMkLst>
        </pc:spChg>
        <pc:spChg chg="mod">
          <ac:chgData name="Daniel Esteban Ortiz Carvajal" userId="c61208ed-cfc9-41db-b98e-8ca1e81cbf8a" providerId="ADAL" clId="{460B01F5-D0D7-4F46-BDC5-EE5905768D06}" dt="2022-08-09T19:52:16.343" v="7188" actId="947"/>
          <ac:spMkLst>
            <pc:docMk/>
            <pc:sldMasterMk cId="941058978" sldId="2147483753"/>
            <ac:spMk id="4" creationId="{6AF4AA1C-3CD2-4774-B5F3-6463D48FE733}"/>
          </ac:spMkLst>
        </pc:spChg>
        <pc:spChg chg="mod">
          <ac:chgData name="Daniel Esteban Ortiz Carvajal" userId="c61208ed-cfc9-41db-b98e-8ca1e81cbf8a" providerId="ADAL" clId="{460B01F5-D0D7-4F46-BDC5-EE5905768D06}" dt="2022-08-09T19:52:16.345" v="7190" actId="947"/>
          <ac:spMkLst>
            <pc:docMk/>
            <pc:sldMasterMk cId="941058978" sldId="2147483753"/>
            <ac:spMk id="5" creationId="{CE2C8281-63E9-404E-A480-D402A65662B1}"/>
          </ac:spMkLst>
        </pc:spChg>
        <pc:spChg chg="mod">
          <ac:chgData name="Daniel Esteban Ortiz Carvajal" userId="c61208ed-cfc9-41db-b98e-8ca1e81cbf8a" providerId="ADAL" clId="{460B01F5-D0D7-4F46-BDC5-EE5905768D06}" dt="2022-08-09T19:52:16.345" v="7192" actId="947"/>
          <ac:spMkLst>
            <pc:docMk/>
            <pc:sldMasterMk cId="941058978" sldId="2147483753"/>
            <ac:spMk id="6" creationId="{87CE7720-B78E-466E-8A1B-148E3773873A}"/>
          </ac:spMkLst>
        </pc:spChg>
        <pc:spChg chg="mod">
          <ac:chgData name="Daniel Esteban Ortiz Carvajal" userId="c61208ed-cfc9-41db-b98e-8ca1e81cbf8a" providerId="ADAL" clId="{460B01F5-D0D7-4F46-BDC5-EE5905768D06}" dt="2022-08-09T19:52:16.355" v="7194" actId="947"/>
          <ac:spMkLst>
            <pc:docMk/>
            <pc:sldMasterMk cId="941058978" sldId="2147483753"/>
            <ac:spMk id="7" creationId="{D44FE5DB-E63E-44D4-AB8C-C2023649058F}"/>
          </ac:spMkLst>
        </pc:spChg>
        <pc:graphicFrameChg chg="add mod ord modVis replST">
          <ac:chgData name="Daniel Esteban Ortiz Carvajal" userId="c61208ed-cfc9-41db-b98e-8ca1e81cbf8a" providerId="ADAL" clId="{460B01F5-D0D7-4F46-BDC5-EE5905768D06}" dt="2022-08-09T19:52:20.619" v="8292" actId="1076"/>
          <ac:graphicFrameMkLst>
            <pc:docMk/>
            <pc:sldMasterMk cId="941058978" sldId="2147483753"/>
            <ac:graphicFrameMk id="8" creationId="{2A800D3F-4030-44B9-BD2F-D77FD5734BC5}"/>
          </ac:graphicFrameMkLst>
        </pc:graphicFrameChg>
        <pc:sldLayoutChg chg="modSp mod">
          <pc:chgData name="Daniel Esteban Ortiz Carvajal" userId="c61208ed-cfc9-41db-b98e-8ca1e81cbf8a" providerId="ADAL" clId="{460B01F5-D0D7-4F46-BDC5-EE5905768D06}" dt="2022-08-09T19:52:22.287" v="8607" actId="1076"/>
          <pc:sldLayoutMkLst>
            <pc:docMk/>
            <pc:sldMasterMk cId="941058978" sldId="2147483753"/>
            <pc:sldLayoutMk cId="1482381604" sldId="2147483754"/>
          </pc:sldLayoutMkLst>
          <pc:spChg chg="mod">
            <ac:chgData name="Daniel Esteban Ortiz Carvajal" userId="c61208ed-cfc9-41db-b98e-8ca1e81cbf8a" providerId="ADAL" clId="{460B01F5-D0D7-4F46-BDC5-EE5905768D06}" dt="2022-08-09T19:52:16.366" v="7197" actId="790"/>
            <ac:spMkLst>
              <pc:docMk/>
              <pc:sldMasterMk cId="941058978" sldId="2147483753"/>
              <pc:sldLayoutMk cId="1482381604" sldId="2147483754"/>
              <ac:spMk id="8" creationId="{720E1634-21D2-4359-921B-CAAA3661AFD2}"/>
            </ac:spMkLst>
          </pc:spChg>
          <pc:spChg chg="mod">
            <ac:chgData name="Daniel Esteban Ortiz Carvajal" userId="c61208ed-cfc9-41db-b98e-8ca1e81cbf8a" providerId="ADAL" clId="{460B01F5-D0D7-4F46-BDC5-EE5905768D06}" dt="2022-08-09T19:52:16.376" v="7201" actId="20577"/>
            <ac:spMkLst>
              <pc:docMk/>
              <pc:sldMasterMk cId="941058978" sldId="2147483753"/>
              <pc:sldLayoutMk cId="1482381604" sldId="2147483754"/>
              <ac:spMk id="11" creationId="{2B43B82D-CF64-4D75-AAE5-C1FCBE62FCC6}"/>
            </ac:spMkLst>
          </pc:spChg>
          <pc:spChg chg="mod">
            <ac:chgData name="Daniel Esteban Ortiz Carvajal" userId="c61208ed-cfc9-41db-b98e-8ca1e81cbf8a" providerId="ADAL" clId="{460B01F5-D0D7-4F46-BDC5-EE5905768D06}" dt="2022-08-09T19:52:16.386" v="7205" actId="20577"/>
            <ac:spMkLst>
              <pc:docMk/>
              <pc:sldMasterMk cId="941058978" sldId="2147483753"/>
              <pc:sldLayoutMk cId="1482381604" sldId="2147483754"/>
              <ac:spMk id="12" creationId="{4CD68ECF-A7B7-400D-89E5-AE5544C15BD2}"/>
            </ac:spMkLst>
          </pc:spChg>
          <pc:graphicFrameChg chg="mod ord modVis replST">
            <ac:chgData name="Daniel Esteban Ortiz Carvajal" userId="c61208ed-cfc9-41db-b98e-8ca1e81cbf8a" providerId="ADAL" clId="{460B01F5-D0D7-4F46-BDC5-EE5905768D06}" dt="2022-08-09T19:52:22.287" v="8607" actId="1076"/>
            <ac:graphicFrameMkLst>
              <pc:docMk/>
              <pc:sldMasterMk cId="941058978" sldId="2147483753"/>
              <pc:sldLayoutMk cId="1482381604" sldId="2147483754"/>
              <ac:graphicFrameMk id="2" creationId="{91EEFE8A-FD87-4640-816C-91978279E02A}"/>
            </ac:graphicFrameMkLst>
          </pc:graphicFrameChg>
        </pc:sldLayoutChg>
        <pc:sldLayoutChg chg="modSp mod">
          <pc:chgData name="Daniel Esteban Ortiz Carvajal" userId="c61208ed-cfc9-41db-b98e-8ca1e81cbf8a" providerId="ADAL" clId="{460B01F5-D0D7-4F46-BDC5-EE5905768D06}" dt="2022-08-09T19:52:21.456" v="8461" actId="1076"/>
          <pc:sldLayoutMkLst>
            <pc:docMk/>
            <pc:sldMasterMk cId="941058978" sldId="2147483753"/>
            <pc:sldLayoutMk cId="4174726914" sldId="2147483755"/>
          </pc:sldLayoutMkLst>
          <pc:spChg chg="mod">
            <ac:chgData name="Daniel Esteban Ortiz Carvajal" userId="c61208ed-cfc9-41db-b98e-8ca1e81cbf8a" providerId="ADAL" clId="{460B01F5-D0D7-4F46-BDC5-EE5905768D06}" dt="2022-08-09T19:52:16.386" v="7206" actId="790"/>
            <ac:spMkLst>
              <pc:docMk/>
              <pc:sldMasterMk cId="941058978" sldId="2147483753"/>
              <pc:sldLayoutMk cId="4174726914" sldId="2147483755"/>
              <ac:spMk id="8" creationId="{720E1634-21D2-4359-921B-CAAA3661AFD2}"/>
            </ac:spMkLst>
          </pc:spChg>
          <pc:spChg chg="mod">
            <ac:chgData name="Daniel Esteban Ortiz Carvajal" userId="c61208ed-cfc9-41db-b98e-8ca1e81cbf8a" providerId="ADAL" clId="{460B01F5-D0D7-4F46-BDC5-EE5905768D06}" dt="2022-08-09T19:52:16.406" v="7210" actId="20577"/>
            <ac:spMkLst>
              <pc:docMk/>
              <pc:sldMasterMk cId="941058978" sldId="2147483753"/>
              <pc:sldLayoutMk cId="4174726914" sldId="2147483755"/>
              <ac:spMk id="11" creationId="{2B43B82D-CF64-4D75-AAE5-C1FCBE62FCC6}"/>
            </ac:spMkLst>
          </pc:spChg>
          <pc:spChg chg="mod">
            <ac:chgData name="Daniel Esteban Ortiz Carvajal" userId="c61208ed-cfc9-41db-b98e-8ca1e81cbf8a" providerId="ADAL" clId="{460B01F5-D0D7-4F46-BDC5-EE5905768D06}" dt="2022-08-09T19:52:16.418" v="7214" actId="20577"/>
            <ac:spMkLst>
              <pc:docMk/>
              <pc:sldMasterMk cId="941058978" sldId="2147483753"/>
              <pc:sldLayoutMk cId="4174726914" sldId="2147483755"/>
              <ac:spMk id="12" creationId="{4CD68ECF-A7B7-400D-89E5-AE5544C15BD2}"/>
            </ac:spMkLst>
          </pc:spChg>
          <pc:graphicFrameChg chg="mod ord modVis replST">
            <ac:chgData name="Daniel Esteban Ortiz Carvajal" userId="c61208ed-cfc9-41db-b98e-8ca1e81cbf8a" providerId="ADAL" clId="{460B01F5-D0D7-4F46-BDC5-EE5905768D06}" dt="2022-08-09T19:52:21.456" v="8461" actId="1076"/>
            <ac:graphicFrameMkLst>
              <pc:docMk/>
              <pc:sldMasterMk cId="941058978" sldId="2147483753"/>
              <pc:sldLayoutMk cId="4174726914" sldId="2147483755"/>
              <ac:graphicFrameMk id="2" creationId="{F61B353D-5967-4133-BC90-22EB3C971222}"/>
            </ac:graphicFrameMkLst>
          </pc:graphicFrameChg>
        </pc:sldLayoutChg>
        <pc:sldLayoutChg chg="modSp mod">
          <pc:chgData name="Daniel Esteban Ortiz Carvajal" userId="c61208ed-cfc9-41db-b98e-8ca1e81cbf8a" providerId="ADAL" clId="{460B01F5-D0D7-4F46-BDC5-EE5905768D06}" dt="2022-08-09T19:52:19.536" v="8081" actId="1076"/>
          <pc:sldLayoutMkLst>
            <pc:docMk/>
            <pc:sldMasterMk cId="941058978" sldId="2147483753"/>
            <pc:sldLayoutMk cId="1484592689" sldId="2147483756"/>
          </pc:sldLayoutMkLst>
          <pc:spChg chg="mod">
            <ac:chgData name="Daniel Esteban Ortiz Carvajal" userId="c61208ed-cfc9-41db-b98e-8ca1e81cbf8a" providerId="ADAL" clId="{460B01F5-D0D7-4F46-BDC5-EE5905768D06}" dt="2022-08-09T19:52:16.422" v="7215" actId="790"/>
            <ac:spMkLst>
              <pc:docMk/>
              <pc:sldMasterMk cId="941058978" sldId="2147483753"/>
              <pc:sldLayoutMk cId="1484592689" sldId="2147483756"/>
              <ac:spMk id="8" creationId="{720E1634-21D2-4359-921B-CAAA3661AFD2}"/>
            </ac:spMkLst>
          </pc:spChg>
          <pc:spChg chg="mod">
            <ac:chgData name="Daniel Esteban Ortiz Carvajal" userId="c61208ed-cfc9-41db-b98e-8ca1e81cbf8a" providerId="ADAL" clId="{460B01F5-D0D7-4F46-BDC5-EE5905768D06}" dt="2022-08-09T19:52:16.438" v="7219" actId="20577"/>
            <ac:spMkLst>
              <pc:docMk/>
              <pc:sldMasterMk cId="941058978" sldId="2147483753"/>
              <pc:sldLayoutMk cId="1484592689" sldId="2147483756"/>
              <ac:spMk id="11" creationId="{2B43B82D-CF64-4D75-AAE5-C1FCBE62FCC6}"/>
            </ac:spMkLst>
          </pc:spChg>
          <pc:spChg chg="mod">
            <ac:chgData name="Daniel Esteban Ortiz Carvajal" userId="c61208ed-cfc9-41db-b98e-8ca1e81cbf8a" providerId="ADAL" clId="{460B01F5-D0D7-4F46-BDC5-EE5905768D06}" dt="2022-08-09T19:52:16.448" v="7223" actId="20577"/>
            <ac:spMkLst>
              <pc:docMk/>
              <pc:sldMasterMk cId="941058978" sldId="2147483753"/>
              <pc:sldLayoutMk cId="1484592689" sldId="2147483756"/>
              <ac:spMk id="12" creationId="{4CD68ECF-A7B7-400D-89E5-AE5544C15BD2}"/>
            </ac:spMkLst>
          </pc:spChg>
          <pc:graphicFrameChg chg="mod ord modVis replST">
            <ac:chgData name="Daniel Esteban Ortiz Carvajal" userId="c61208ed-cfc9-41db-b98e-8ca1e81cbf8a" providerId="ADAL" clId="{460B01F5-D0D7-4F46-BDC5-EE5905768D06}" dt="2022-08-09T19:52:19.536" v="8081" actId="1076"/>
            <ac:graphicFrameMkLst>
              <pc:docMk/>
              <pc:sldMasterMk cId="941058978" sldId="2147483753"/>
              <pc:sldLayoutMk cId="1484592689" sldId="2147483756"/>
              <ac:graphicFrameMk id="2" creationId="{20FB6D06-1590-4AD5-85F5-E7C7DD6EDCB7}"/>
            </ac:graphicFrameMkLst>
          </pc:graphicFrameChg>
        </pc:sldLayoutChg>
        <pc:sldLayoutChg chg="modSp mod">
          <pc:chgData name="Daniel Esteban Ortiz Carvajal" userId="c61208ed-cfc9-41db-b98e-8ca1e81cbf8a" providerId="ADAL" clId="{460B01F5-D0D7-4F46-BDC5-EE5905768D06}" dt="2022-08-09T19:52:22.331" v="8615" actId="1076"/>
          <pc:sldLayoutMkLst>
            <pc:docMk/>
            <pc:sldMasterMk cId="941058978" sldId="2147483753"/>
            <pc:sldLayoutMk cId="752086635" sldId="2147483758"/>
          </pc:sldLayoutMkLst>
          <pc:spChg chg="mod">
            <ac:chgData name="Daniel Esteban Ortiz Carvajal" userId="c61208ed-cfc9-41db-b98e-8ca1e81cbf8a" providerId="ADAL" clId="{460B01F5-D0D7-4F46-BDC5-EE5905768D06}" dt="2022-08-09T19:52:16.453" v="7224" actId="790"/>
            <ac:spMkLst>
              <pc:docMk/>
              <pc:sldMasterMk cId="941058978" sldId="2147483753"/>
              <pc:sldLayoutMk cId="752086635" sldId="2147483758"/>
              <ac:spMk id="8" creationId="{720E1634-21D2-4359-921B-CAAA3661AFD2}"/>
            </ac:spMkLst>
          </pc:spChg>
          <pc:spChg chg="mod">
            <ac:chgData name="Daniel Esteban Ortiz Carvajal" userId="c61208ed-cfc9-41db-b98e-8ca1e81cbf8a" providerId="ADAL" clId="{460B01F5-D0D7-4F46-BDC5-EE5905768D06}" dt="2022-08-09T19:52:16.469" v="7228" actId="20577"/>
            <ac:spMkLst>
              <pc:docMk/>
              <pc:sldMasterMk cId="941058978" sldId="2147483753"/>
              <pc:sldLayoutMk cId="752086635" sldId="2147483758"/>
              <ac:spMk id="11" creationId="{2B43B82D-CF64-4D75-AAE5-C1FCBE62FCC6}"/>
            </ac:spMkLst>
          </pc:spChg>
          <pc:spChg chg="mod">
            <ac:chgData name="Daniel Esteban Ortiz Carvajal" userId="c61208ed-cfc9-41db-b98e-8ca1e81cbf8a" providerId="ADAL" clId="{460B01F5-D0D7-4F46-BDC5-EE5905768D06}" dt="2022-08-09T19:52:16.481" v="7232" actId="20577"/>
            <ac:spMkLst>
              <pc:docMk/>
              <pc:sldMasterMk cId="941058978" sldId="2147483753"/>
              <pc:sldLayoutMk cId="752086635" sldId="2147483758"/>
              <ac:spMk id="12" creationId="{4CD68ECF-A7B7-400D-89E5-AE5544C15BD2}"/>
            </ac:spMkLst>
          </pc:spChg>
          <pc:graphicFrameChg chg="mod ord modVis replST">
            <ac:chgData name="Daniel Esteban Ortiz Carvajal" userId="c61208ed-cfc9-41db-b98e-8ca1e81cbf8a" providerId="ADAL" clId="{460B01F5-D0D7-4F46-BDC5-EE5905768D06}" dt="2022-08-09T19:52:22.331" v="8615" actId="1076"/>
            <ac:graphicFrameMkLst>
              <pc:docMk/>
              <pc:sldMasterMk cId="941058978" sldId="2147483753"/>
              <pc:sldLayoutMk cId="752086635" sldId="2147483758"/>
              <ac:graphicFrameMk id="2" creationId="{9879134B-02F1-4885-AF26-E7AE119CDAFA}"/>
            </ac:graphicFrameMkLst>
          </pc:graphicFrameChg>
        </pc:sldLayoutChg>
        <pc:sldLayoutChg chg="modSp mod">
          <pc:chgData name="Daniel Esteban Ortiz Carvajal" userId="c61208ed-cfc9-41db-b98e-8ca1e81cbf8a" providerId="ADAL" clId="{460B01F5-D0D7-4F46-BDC5-EE5905768D06}" dt="2022-08-09T19:52:19.611" v="8097" actId="1076"/>
          <pc:sldLayoutMkLst>
            <pc:docMk/>
            <pc:sldMasterMk cId="941058978" sldId="2147483753"/>
            <pc:sldLayoutMk cId="1360329047" sldId="2147483759"/>
          </pc:sldLayoutMkLst>
          <pc:spChg chg="mod">
            <ac:chgData name="Daniel Esteban Ortiz Carvajal" userId="c61208ed-cfc9-41db-b98e-8ca1e81cbf8a" providerId="ADAL" clId="{460B01F5-D0D7-4F46-BDC5-EE5905768D06}" dt="2022-08-09T19:52:16.484" v="7233" actId="790"/>
            <ac:spMkLst>
              <pc:docMk/>
              <pc:sldMasterMk cId="941058978" sldId="2147483753"/>
              <pc:sldLayoutMk cId="1360329047" sldId="2147483759"/>
              <ac:spMk id="8" creationId="{720E1634-21D2-4359-921B-CAAA3661AFD2}"/>
            </ac:spMkLst>
          </pc:spChg>
          <pc:spChg chg="mod">
            <ac:chgData name="Daniel Esteban Ortiz Carvajal" userId="c61208ed-cfc9-41db-b98e-8ca1e81cbf8a" providerId="ADAL" clId="{460B01F5-D0D7-4F46-BDC5-EE5905768D06}" dt="2022-08-09T19:52:16.498" v="7237" actId="20577"/>
            <ac:spMkLst>
              <pc:docMk/>
              <pc:sldMasterMk cId="941058978" sldId="2147483753"/>
              <pc:sldLayoutMk cId="1360329047" sldId="2147483759"/>
              <ac:spMk id="11" creationId="{2B43B82D-CF64-4D75-AAE5-C1FCBE62FCC6}"/>
            </ac:spMkLst>
          </pc:spChg>
          <pc:spChg chg="mod">
            <ac:chgData name="Daniel Esteban Ortiz Carvajal" userId="c61208ed-cfc9-41db-b98e-8ca1e81cbf8a" providerId="ADAL" clId="{460B01F5-D0D7-4F46-BDC5-EE5905768D06}" dt="2022-08-09T19:52:16.508" v="7241" actId="20577"/>
            <ac:spMkLst>
              <pc:docMk/>
              <pc:sldMasterMk cId="941058978" sldId="2147483753"/>
              <pc:sldLayoutMk cId="1360329047" sldId="2147483759"/>
              <ac:spMk id="12" creationId="{4CD68ECF-A7B7-400D-89E5-AE5544C15BD2}"/>
            </ac:spMkLst>
          </pc:spChg>
          <pc:graphicFrameChg chg="mod ord modVis replST">
            <ac:chgData name="Daniel Esteban Ortiz Carvajal" userId="c61208ed-cfc9-41db-b98e-8ca1e81cbf8a" providerId="ADAL" clId="{460B01F5-D0D7-4F46-BDC5-EE5905768D06}" dt="2022-08-09T19:52:19.611" v="8097" actId="1076"/>
            <ac:graphicFrameMkLst>
              <pc:docMk/>
              <pc:sldMasterMk cId="941058978" sldId="2147483753"/>
              <pc:sldLayoutMk cId="1360329047" sldId="2147483759"/>
              <ac:graphicFrameMk id="2" creationId="{6DA72C58-BF2C-4CCB-A014-3405C724AC7E}"/>
            </ac:graphicFrameMkLst>
          </pc:graphicFrameChg>
        </pc:sldLayoutChg>
        <pc:sldLayoutChg chg="modSp del mod">
          <pc:chgData name="Daniel Esteban Ortiz Carvajal" userId="c61208ed-cfc9-41db-b98e-8ca1e81cbf8a" providerId="ADAL" clId="{460B01F5-D0D7-4F46-BDC5-EE5905768D06}" dt="2022-08-09T23:01:30.037" v="10521" actId="47"/>
          <pc:sldLayoutMkLst>
            <pc:docMk/>
            <pc:sldMasterMk cId="941058978" sldId="2147483753"/>
            <pc:sldLayoutMk cId="4115787228" sldId="2147483778"/>
          </pc:sldLayoutMkLst>
          <pc:spChg chg="mod">
            <ac:chgData name="Daniel Esteban Ortiz Carvajal" userId="c61208ed-cfc9-41db-b98e-8ca1e81cbf8a" providerId="ADAL" clId="{460B01F5-D0D7-4F46-BDC5-EE5905768D06}" dt="2022-08-09T19:52:16.512" v="7242" actId="790"/>
            <ac:spMkLst>
              <pc:docMk/>
              <pc:sldMasterMk cId="941058978" sldId="2147483753"/>
              <pc:sldLayoutMk cId="4115787228" sldId="2147483778"/>
              <ac:spMk id="12" creationId="{0809E568-2108-44E2-9A0C-86CBC3B8149D}"/>
            </ac:spMkLst>
          </pc:spChg>
          <pc:spChg chg="mod">
            <ac:chgData name="Daniel Esteban Ortiz Carvajal" userId="c61208ed-cfc9-41db-b98e-8ca1e81cbf8a" providerId="ADAL" clId="{460B01F5-D0D7-4F46-BDC5-EE5905768D06}" dt="2022-08-09T19:52:16.518" v="7243" actId="790"/>
            <ac:spMkLst>
              <pc:docMk/>
              <pc:sldMasterMk cId="941058978" sldId="2147483753"/>
              <pc:sldLayoutMk cId="4115787228" sldId="2147483778"/>
              <ac:spMk id="14" creationId="{75901F94-166C-407E-BFBB-67B1039B9EA7}"/>
            </ac:spMkLst>
          </pc:spChg>
          <pc:spChg chg="mod">
            <ac:chgData name="Daniel Esteban Ortiz Carvajal" userId="c61208ed-cfc9-41db-b98e-8ca1e81cbf8a" providerId="ADAL" clId="{460B01F5-D0D7-4F46-BDC5-EE5905768D06}" dt="2022-08-09T19:52:16.522" v="7244" actId="790"/>
            <ac:spMkLst>
              <pc:docMk/>
              <pc:sldMasterMk cId="941058978" sldId="2147483753"/>
              <pc:sldLayoutMk cId="4115787228" sldId="2147483778"/>
              <ac:spMk id="15" creationId="{323C8D70-88BE-452B-B2FF-84905D6398AE}"/>
            </ac:spMkLst>
          </pc:spChg>
          <pc:spChg chg="mod">
            <ac:chgData name="Daniel Esteban Ortiz Carvajal" userId="c61208ed-cfc9-41db-b98e-8ca1e81cbf8a" providerId="ADAL" clId="{460B01F5-D0D7-4F46-BDC5-EE5905768D06}" dt="2022-08-09T19:52:16.536" v="7248" actId="20577"/>
            <ac:spMkLst>
              <pc:docMk/>
              <pc:sldMasterMk cId="941058978" sldId="2147483753"/>
              <pc:sldLayoutMk cId="4115787228" sldId="2147483778"/>
              <ac:spMk id="16" creationId="{D2A9C319-5DC6-4D25-8958-FF6AFBFC3332}"/>
            </ac:spMkLst>
          </pc:spChg>
          <pc:spChg chg="mod">
            <ac:chgData name="Daniel Esteban Ortiz Carvajal" userId="c61208ed-cfc9-41db-b98e-8ca1e81cbf8a" providerId="ADAL" clId="{460B01F5-D0D7-4F46-BDC5-EE5905768D06}" dt="2022-08-09T19:52:16.547" v="7252" actId="20577"/>
            <ac:spMkLst>
              <pc:docMk/>
              <pc:sldMasterMk cId="941058978" sldId="2147483753"/>
              <pc:sldLayoutMk cId="4115787228" sldId="2147483778"/>
              <ac:spMk id="18" creationId="{C2C1FB0C-63CE-4BE9-874A-FE35053E391F}"/>
            </ac:spMkLst>
          </pc:spChg>
          <pc:spChg chg="mod">
            <ac:chgData name="Daniel Esteban Ortiz Carvajal" userId="c61208ed-cfc9-41db-b98e-8ca1e81cbf8a" providerId="ADAL" clId="{460B01F5-D0D7-4F46-BDC5-EE5905768D06}" dt="2022-08-09T19:52:16.558" v="7256" actId="20577"/>
            <ac:spMkLst>
              <pc:docMk/>
              <pc:sldMasterMk cId="941058978" sldId="2147483753"/>
              <pc:sldLayoutMk cId="4115787228" sldId="2147483778"/>
              <ac:spMk id="19" creationId="{DE8EC139-56C8-443E-BED0-3C227CC216DE}"/>
            </ac:spMkLst>
          </pc:spChg>
          <pc:spChg chg="mod">
            <ac:chgData name="Daniel Esteban Ortiz Carvajal" userId="c61208ed-cfc9-41db-b98e-8ca1e81cbf8a" providerId="ADAL" clId="{460B01F5-D0D7-4F46-BDC5-EE5905768D06}" dt="2022-08-09T19:52:16.564" v="7258" actId="947"/>
            <ac:spMkLst>
              <pc:docMk/>
              <pc:sldMasterMk cId="941058978" sldId="2147483753"/>
              <pc:sldLayoutMk cId="4115787228" sldId="2147483778"/>
              <ac:spMk id="20" creationId="{400F168F-ED42-4ADC-AC46-98172580B45A}"/>
            </ac:spMkLst>
          </pc:spChg>
          <pc:graphicFrameChg chg="mod ord modVis replST">
            <ac:chgData name="Daniel Esteban Ortiz Carvajal" userId="c61208ed-cfc9-41db-b98e-8ca1e81cbf8a" providerId="ADAL" clId="{460B01F5-D0D7-4F46-BDC5-EE5905768D06}" dt="2022-08-09T19:52:19.575" v="8089" actId="1076"/>
            <ac:graphicFrameMkLst>
              <pc:docMk/>
              <pc:sldMasterMk cId="941058978" sldId="2147483753"/>
              <pc:sldLayoutMk cId="4115787228" sldId="2147483778"/>
              <ac:graphicFrameMk id="2" creationId="{EC31B2B9-77EA-4EE8-90D7-0C182FC9DF31}"/>
            </ac:graphicFrameMkLst>
          </pc:graphicFrameChg>
        </pc:sldLayoutChg>
      </pc:sldMasterChg>
      <pc:sldMasterChg chg="addSp modSp mod modSldLayout">
        <pc:chgData name="Daniel Esteban Ortiz Carvajal" userId="c61208ed-cfc9-41db-b98e-8ca1e81cbf8a" providerId="ADAL" clId="{460B01F5-D0D7-4F46-BDC5-EE5905768D06}" dt="2022-08-09T19:52:19.616" v="8098" actId="1076"/>
        <pc:sldMasterMkLst>
          <pc:docMk/>
          <pc:sldMasterMk cId="1820091125" sldId="2147483763"/>
        </pc:sldMasterMkLst>
        <pc:spChg chg="mod">
          <ac:chgData name="Daniel Esteban Ortiz Carvajal" userId="c61208ed-cfc9-41db-b98e-8ca1e81cbf8a" providerId="ADAL" clId="{460B01F5-D0D7-4F46-BDC5-EE5905768D06}" dt="2022-08-09T19:52:16.569" v="7260" actId="947"/>
          <ac:spMkLst>
            <pc:docMk/>
            <pc:sldMasterMk cId="1820091125" sldId="2147483763"/>
            <ac:spMk id="2" creationId="{463EA8DF-2C05-489F-856D-624082904E56}"/>
          </ac:spMkLst>
        </pc:spChg>
        <pc:spChg chg="mod">
          <ac:chgData name="Daniel Esteban Ortiz Carvajal" userId="c61208ed-cfc9-41db-b98e-8ca1e81cbf8a" providerId="ADAL" clId="{460B01F5-D0D7-4F46-BDC5-EE5905768D06}" dt="2022-08-09T19:52:16.573" v="7262" actId="947"/>
          <ac:spMkLst>
            <pc:docMk/>
            <pc:sldMasterMk cId="1820091125" sldId="2147483763"/>
            <ac:spMk id="3" creationId="{205B29A4-68A1-45A2-B3F9-B418132A7C6E}"/>
          </ac:spMkLst>
        </pc:spChg>
        <pc:spChg chg="mod">
          <ac:chgData name="Daniel Esteban Ortiz Carvajal" userId="c61208ed-cfc9-41db-b98e-8ca1e81cbf8a" providerId="ADAL" clId="{460B01F5-D0D7-4F46-BDC5-EE5905768D06}" dt="2022-08-09T19:52:16.578" v="7264" actId="947"/>
          <ac:spMkLst>
            <pc:docMk/>
            <pc:sldMasterMk cId="1820091125" sldId="2147483763"/>
            <ac:spMk id="4" creationId="{6B816D9F-FB39-46B8-80A5-35323DF8BC97}"/>
          </ac:spMkLst>
        </pc:spChg>
        <pc:spChg chg="mod">
          <ac:chgData name="Daniel Esteban Ortiz Carvajal" userId="c61208ed-cfc9-41db-b98e-8ca1e81cbf8a" providerId="ADAL" clId="{460B01F5-D0D7-4F46-BDC5-EE5905768D06}" dt="2022-08-09T19:52:16.583" v="7266" actId="947"/>
          <ac:spMkLst>
            <pc:docMk/>
            <pc:sldMasterMk cId="1820091125" sldId="2147483763"/>
            <ac:spMk id="5" creationId="{750916D0-39C8-455E-B0DF-78FDC1095373}"/>
          </ac:spMkLst>
        </pc:spChg>
        <pc:spChg chg="mod">
          <ac:chgData name="Daniel Esteban Ortiz Carvajal" userId="c61208ed-cfc9-41db-b98e-8ca1e81cbf8a" providerId="ADAL" clId="{460B01F5-D0D7-4F46-BDC5-EE5905768D06}" dt="2022-08-09T19:52:16.588" v="7268" actId="947"/>
          <ac:spMkLst>
            <pc:docMk/>
            <pc:sldMasterMk cId="1820091125" sldId="2147483763"/>
            <ac:spMk id="6" creationId="{EDB6F9D1-A173-4C12-B193-54596607C3A1}"/>
          </ac:spMkLst>
        </pc:spChg>
        <pc:spChg chg="mod">
          <ac:chgData name="Daniel Esteban Ortiz Carvajal" userId="c61208ed-cfc9-41db-b98e-8ca1e81cbf8a" providerId="ADAL" clId="{460B01F5-D0D7-4F46-BDC5-EE5905768D06}" dt="2022-08-09T19:52:16.592" v="7270" actId="947"/>
          <ac:spMkLst>
            <pc:docMk/>
            <pc:sldMasterMk cId="1820091125" sldId="2147483763"/>
            <ac:spMk id="7" creationId="{42E39113-5237-439E-B0D6-9DD0B7CE9CA5}"/>
          </ac:spMkLst>
        </pc:spChg>
        <pc:graphicFrameChg chg="add mod ord modVis replST">
          <ac:chgData name="Daniel Esteban Ortiz Carvajal" userId="c61208ed-cfc9-41db-b98e-8ca1e81cbf8a" providerId="ADAL" clId="{460B01F5-D0D7-4F46-BDC5-EE5905768D06}" dt="2022-08-09T19:52:19.616" v="8098" actId="1076"/>
          <ac:graphicFrameMkLst>
            <pc:docMk/>
            <pc:sldMasterMk cId="1820091125" sldId="2147483763"/>
            <ac:graphicFrameMk id="8" creationId="{66F1C5E6-4281-42D2-ACE6-59D4CC768304}"/>
          </ac:graphicFrameMkLst>
        </pc:graphicFrameChg>
        <pc:sldLayoutChg chg="modSp mod">
          <pc:chgData name="Daniel Esteban Ortiz Carvajal" userId="c61208ed-cfc9-41db-b98e-8ca1e81cbf8a" providerId="ADAL" clId="{460B01F5-D0D7-4F46-BDC5-EE5905768D06}" dt="2022-08-09T19:52:18.593" v="7895" actId="1076"/>
          <pc:sldLayoutMkLst>
            <pc:docMk/>
            <pc:sldMasterMk cId="1820091125" sldId="2147483763"/>
            <pc:sldLayoutMk cId="2654448015" sldId="2147483765"/>
          </pc:sldLayoutMkLst>
          <pc:spChg chg="mod">
            <ac:chgData name="Daniel Esteban Ortiz Carvajal" userId="c61208ed-cfc9-41db-b98e-8ca1e81cbf8a" providerId="ADAL" clId="{460B01F5-D0D7-4F46-BDC5-EE5905768D06}" dt="2022-08-09T19:52:16.658" v="7296" actId="790"/>
            <ac:spMkLst>
              <pc:docMk/>
              <pc:sldMasterMk cId="1820091125" sldId="2147483763"/>
              <pc:sldLayoutMk cId="2654448015" sldId="2147483765"/>
              <ac:spMk id="9" creationId="{BEA73A5F-1964-4084-AA70-4291ECD17A97}"/>
            </ac:spMkLst>
          </pc:spChg>
          <pc:spChg chg="mod">
            <ac:chgData name="Daniel Esteban Ortiz Carvajal" userId="c61208ed-cfc9-41db-b98e-8ca1e81cbf8a" providerId="ADAL" clId="{460B01F5-D0D7-4F46-BDC5-EE5905768D06}" dt="2022-08-09T19:52:16.670" v="7300" actId="20577"/>
            <ac:spMkLst>
              <pc:docMk/>
              <pc:sldMasterMk cId="1820091125" sldId="2147483763"/>
              <pc:sldLayoutMk cId="2654448015" sldId="2147483765"/>
              <ac:spMk id="10" creationId="{6D39296C-9963-473E-AB7A-11500855FD1A}"/>
            </ac:spMkLst>
          </pc:spChg>
          <pc:spChg chg="mod">
            <ac:chgData name="Daniel Esteban Ortiz Carvajal" userId="c61208ed-cfc9-41db-b98e-8ca1e81cbf8a" providerId="ADAL" clId="{460B01F5-D0D7-4F46-BDC5-EE5905768D06}" dt="2022-08-09T19:52:16.678" v="7304" actId="20577"/>
            <ac:spMkLst>
              <pc:docMk/>
              <pc:sldMasterMk cId="1820091125" sldId="2147483763"/>
              <pc:sldLayoutMk cId="2654448015" sldId="2147483765"/>
              <ac:spMk id="11" creationId="{AD09F105-A931-49D4-A08F-8D11F5852EC1}"/>
            </ac:spMkLst>
          </pc:spChg>
          <pc:spChg chg="mod">
            <ac:chgData name="Daniel Esteban Ortiz Carvajal" userId="c61208ed-cfc9-41db-b98e-8ca1e81cbf8a" providerId="ADAL" clId="{460B01F5-D0D7-4F46-BDC5-EE5905768D06}" dt="2022-08-09T19:52:16.689" v="7308" actId="20577"/>
            <ac:spMkLst>
              <pc:docMk/>
              <pc:sldMasterMk cId="1820091125" sldId="2147483763"/>
              <pc:sldLayoutMk cId="2654448015" sldId="2147483765"/>
              <ac:spMk id="12" creationId="{4692D47F-871A-4E7C-86A5-FC9F89D7E01C}"/>
            </ac:spMkLst>
          </pc:spChg>
          <pc:spChg chg="mod">
            <ac:chgData name="Daniel Esteban Ortiz Carvajal" userId="c61208ed-cfc9-41db-b98e-8ca1e81cbf8a" providerId="ADAL" clId="{460B01F5-D0D7-4F46-BDC5-EE5905768D06}" dt="2022-08-09T19:52:16.656" v="7295" actId="20577"/>
            <ac:spMkLst>
              <pc:docMk/>
              <pc:sldMasterMk cId="1820091125" sldId="2147483763"/>
              <pc:sldLayoutMk cId="2654448015" sldId="2147483765"/>
              <ac:spMk id="13" creationId="{D4E44FFE-4B7D-4F22-AE1F-2BC79C00ADC0}"/>
            </ac:spMkLst>
          </pc:spChg>
          <pc:spChg chg="mod">
            <ac:chgData name="Daniel Esteban Ortiz Carvajal" userId="c61208ed-cfc9-41db-b98e-8ca1e81cbf8a" providerId="ADAL" clId="{460B01F5-D0D7-4F46-BDC5-EE5905768D06}" dt="2022-08-09T19:52:16.647" v="7291" actId="20577"/>
            <ac:spMkLst>
              <pc:docMk/>
              <pc:sldMasterMk cId="1820091125" sldId="2147483763"/>
              <pc:sldLayoutMk cId="2654448015" sldId="2147483765"/>
              <ac:spMk id="19" creationId="{866A534B-4624-4B67-AD91-828428CE46FF}"/>
            </ac:spMkLst>
          </pc:spChg>
          <pc:spChg chg="mod">
            <ac:chgData name="Daniel Esteban Ortiz Carvajal" userId="c61208ed-cfc9-41db-b98e-8ca1e81cbf8a" providerId="ADAL" clId="{460B01F5-D0D7-4F46-BDC5-EE5905768D06}" dt="2022-08-09T19:52:16.638" v="7287" actId="947"/>
            <ac:spMkLst>
              <pc:docMk/>
              <pc:sldMasterMk cId="1820091125" sldId="2147483763"/>
              <pc:sldLayoutMk cId="2654448015" sldId="2147483765"/>
              <ac:spMk id="20" creationId="{15AA39AD-F5C1-44B4-AA41-1E2F1220E831}"/>
            </ac:spMkLst>
          </pc:spChg>
          <pc:graphicFrameChg chg="mod ord modVis replST">
            <ac:chgData name="Daniel Esteban Ortiz Carvajal" userId="c61208ed-cfc9-41db-b98e-8ca1e81cbf8a" providerId="ADAL" clId="{460B01F5-D0D7-4F46-BDC5-EE5905768D06}" dt="2022-08-09T19:52:18.593" v="7895" actId="1076"/>
            <ac:graphicFrameMkLst>
              <pc:docMk/>
              <pc:sldMasterMk cId="1820091125" sldId="2147483763"/>
              <pc:sldLayoutMk cId="2654448015" sldId="2147483765"/>
              <ac:graphicFrameMk id="2" creationId="{3327D94B-ACDB-4849-BA65-D6AC87B29D22}"/>
            </ac:graphicFrameMkLst>
          </pc:graphicFrameChg>
        </pc:sldLayoutChg>
        <pc:sldLayoutChg chg="modSp mod">
          <pc:chgData name="Daniel Esteban Ortiz Carvajal" userId="c61208ed-cfc9-41db-b98e-8ca1e81cbf8a" providerId="ADAL" clId="{460B01F5-D0D7-4F46-BDC5-EE5905768D06}" dt="2022-08-09T19:52:18.626" v="7903" actId="1076"/>
          <pc:sldLayoutMkLst>
            <pc:docMk/>
            <pc:sldMasterMk cId="1820091125" sldId="2147483763"/>
            <pc:sldLayoutMk cId="3284444550" sldId="2147483766"/>
          </pc:sldLayoutMkLst>
          <pc:spChg chg="mod">
            <ac:chgData name="Daniel Esteban Ortiz Carvajal" userId="c61208ed-cfc9-41db-b98e-8ca1e81cbf8a" providerId="ADAL" clId="{460B01F5-D0D7-4F46-BDC5-EE5905768D06}" dt="2022-08-09T19:52:16.715" v="7321" actId="790"/>
            <ac:spMkLst>
              <pc:docMk/>
              <pc:sldMasterMk cId="1820091125" sldId="2147483763"/>
              <pc:sldLayoutMk cId="3284444550" sldId="2147483766"/>
              <ac:spMk id="9" creationId="{C886E2DE-9B15-4E3C-91C3-213D2464C29D}"/>
            </ac:spMkLst>
          </pc:spChg>
          <pc:spChg chg="mod">
            <ac:chgData name="Daniel Esteban Ortiz Carvajal" userId="c61208ed-cfc9-41db-b98e-8ca1e81cbf8a" providerId="ADAL" clId="{460B01F5-D0D7-4F46-BDC5-EE5905768D06}" dt="2022-08-09T19:52:16.705" v="7316" actId="20577"/>
            <ac:spMkLst>
              <pc:docMk/>
              <pc:sldMasterMk cId="1820091125" sldId="2147483763"/>
              <pc:sldLayoutMk cId="3284444550" sldId="2147483766"/>
              <ac:spMk id="12" creationId="{D80C2E6D-26A5-4F5B-AA20-54D8ADFF6DAA}"/>
            </ac:spMkLst>
          </pc:spChg>
          <pc:spChg chg="mod">
            <ac:chgData name="Daniel Esteban Ortiz Carvajal" userId="c61208ed-cfc9-41db-b98e-8ca1e81cbf8a" providerId="ADAL" clId="{460B01F5-D0D7-4F46-BDC5-EE5905768D06}" dt="2022-08-09T19:52:16.715" v="7320" actId="20577"/>
            <ac:spMkLst>
              <pc:docMk/>
              <pc:sldMasterMk cId="1820091125" sldId="2147483763"/>
              <pc:sldLayoutMk cId="3284444550" sldId="2147483766"/>
              <ac:spMk id="14" creationId="{1FE4D990-17C1-48B7-8881-6BFD1CA16214}"/>
            </ac:spMkLst>
          </pc:spChg>
          <pc:spChg chg="mod">
            <ac:chgData name="Daniel Esteban Ortiz Carvajal" userId="c61208ed-cfc9-41db-b98e-8ca1e81cbf8a" providerId="ADAL" clId="{460B01F5-D0D7-4F46-BDC5-EE5905768D06}" dt="2022-08-09T19:52:16.696" v="7312" actId="20577"/>
            <ac:spMkLst>
              <pc:docMk/>
              <pc:sldMasterMk cId="1820091125" sldId="2147483763"/>
              <pc:sldLayoutMk cId="3284444550" sldId="2147483766"/>
              <ac:spMk id="16" creationId="{21396703-3F6B-4A61-BD93-8AE36E2E733E}"/>
            </ac:spMkLst>
          </pc:spChg>
          <pc:graphicFrameChg chg="mod ord modVis replST">
            <ac:chgData name="Daniel Esteban Ortiz Carvajal" userId="c61208ed-cfc9-41db-b98e-8ca1e81cbf8a" providerId="ADAL" clId="{460B01F5-D0D7-4F46-BDC5-EE5905768D06}" dt="2022-08-09T19:52:18.626" v="7903" actId="1076"/>
            <ac:graphicFrameMkLst>
              <pc:docMk/>
              <pc:sldMasterMk cId="1820091125" sldId="2147483763"/>
              <pc:sldLayoutMk cId="3284444550" sldId="2147483766"/>
              <ac:graphicFrameMk id="2" creationId="{9966A99C-983F-46D8-A2D2-39268EB171CF}"/>
            </ac:graphicFrameMkLst>
          </pc:graphicFrameChg>
        </pc:sldLayoutChg>
        <pc:sldLayoutChg chg="modSp mod">
          <pc:chgData name="Daniel Esteban Ortiz Carvajal" userId="c61208ed-cfc9-41db-b98e-8ca1e81cbf8a" providerId="ADAL" clId="{460B01F5-D0D7-4F46-BDC5-EE5905768D06}" dt="2022-08-09T19:52:18.722" v="7920" actId="1076"/>
          <pc:sldLayoutMkLst>
            <pc:docMk/>
            <pc:sldMasterMk cId="1820091125" sldId="2147483763"/>
            <pc:sldLayoutMk cId="775037684" sldId="2147483775"/>
          </pc:sldLayoutMkLst>
          <pc:spChg chg="mod">
            <ac:chgData name="Daniel Esteban Ortiz Carvajal" userId="c61208ed-cfc9-41db-b98e-8ca1e81cbf8a" providerId="ADAL" clId="{460B01F5-D0D7-4F46-BDC5-EE5905768D06}" dt="2022-08-09T19:52:16.598" v="7272" actId="947"/>
            <ac:spMkLst>
              <pc:docMk/>
              <pc:sldMasterMk cId="1820091125" sldId="2147483763"/>
              <pc:sldLayoutMk cId="775037684" sldId="2147483775"/>
              <ac:spMk id="2" creationId="{25C1A1F0-8F17-4F9B-9BE2-F8CF15144FF2}"/>
            </ac:spMkLst>
          </pc:spChg>
          <pc:spChg chg="mod">
            <ac:chgData name="Daniel Esteban Ortiz Carvajal" userId="c61208ed-cfc9-41db-b98e-8ca1e81cbf8a" providerId="ADAL" clId="{460B01F5-D0D7-4F46-BDC5-EE5905768D06}" dt="2022-08-09T19:52:16.607" v="7276" actId="20577"/>
            <ac:spMkLst>
              <pc:docMk/>
              <pc:sldMasterMk cId="1820091125" sldId="2147483763"/>
              <pc:sldLayoutMk cId="775037684" sldId="2147483775"/>
              <ac:spMk id="3" creationId="{9234098D-0058-45D3-94A5-3033D6325B9D}"/>
            </ac:spMkLst>
          </pc:spChg>
          <pc:spChg chg="mod">
            <ac:chgData name="Daniel Esteban Ortiz Carvajal" userId="c61208ed-cfc9-41db-b98e-8ca1e81cbf8a" providerId="ADAL" clId="{460B01F5-D0D7-4F46-BDC5-EE5905768D06}" dt="2022-08-09T19:52:16.620" v="7281" actId="790"/>
            <ac:spMkLst>
              <pc:docMk/>
              <pc:sldMasterMk cId="1820091125" sldId="2147483763"/>
              <pc:sldLayoutMk cId="775037684" sldId="2147483775"/>
              <ac:spMk id="9" creationId="{07B17288-790A-428E-8DC4-3A7101949763}"/>
            </ac:spMkLst>
          </pc:spChg>
          <pc:spChg chg="mod">
            <ac:chgData name="Daniel Esteban Ortiz Carvajal" userId="c61208ed-cfc9-41db-b98e-8ca1e81cbf8a" providerId="ADAL" clId="{460B01F5-D0D7-4F46-BDC5-EE5905768D06}" dt="2022-08-09T19:52:16.632" v="7285" actId="20577"/>
            <ac:spMkLst>
              <pc:docMk/>
              <pc:sldMasterMk cId="1820091125" sldId="2147483763"/>
              <pc:sldLayoutMk cId="775037684" sldId="2147483775"/>
              <ac:spMk id="13" creationId="{9C5DA2EA-4167-4AAC-AFB3-FFA87FABF1B4}"/>
            </ac:spMkLst>
          </pc:spChg>
          <pc:spChg chg="mod">
            <ac:chgData name="Daniel Esteban Ortiz Carvajal" userId="c61208ed-cfc9-41db-b98e-8ca1e81cbf8a" providerId="ADAL" clId="{460B01F5-D0D7-4F46-BDC5-EE5905768D06}" dt="2022-08-09T19:52:16.617" v="7280" actId="20577"/>
            <ac:spMkLst>
              <pc:docMk/>
              <pc:sldMasterMk cId="1820091125" sldId="2147483763"/>
              <pc:sldLayoutMk cId="775037684" sldId="2147483775"/>
              <ac:spMk id="15" creationId="{D19EE821-D06F-4EC1-9AB9-DA00ED71EF1A}"/>
            </ac:spMkLst>
          </pc:spChg>
          <pc:graphicFrameChg chg="mod ord modVis replST">
            <ac:chgData name="Daniel Esteban Ortiz Carvajal" userId="c61208ed-cfc9-41db-b98e-8ca1e81cbf8a" providerId="ADAL" clId="{460B01F5-D0D7-4F46-BDC5-EE5905768D06}" dt="2022-08-09T19:52:18.722" v="7920" actId="1076"/>
            <ac:graphicFrameMkLst>
              <pc:docMk/>
              <pc:sldMasterMk cId="1820091125" sldId="2147483763"/>
              <pc:sldLayoutMk cId="775037684" sldId="2147483775"/>
              <ac:graphicFrameMk id="4" creationId="{F624DA75-52E3-4851-9FDC-FC07015AE6B0}"/>
            </ac:graphicFrameMkLst>
          </pc:graphicFrameChg>
        </pc:sldLayoutChg>
      </pc:sldMasterChg>
    </pc:docChg>
  </pc:docChgLst>
  <pc:docChgLst>
    <pc:chgData name="Daniel Esteban Ortiz Carvajal" userId="c61208ed-cfc9-41db-b98e-8ca1e81cbf8a" providerId="ADAL" clId="{E204D41B-C1EF-4B9B-AF0F-02FA114F4F41}"/>
    <pc:docChg chg="modSld">
      <pc:chgData name="Daniel Esteban Ortiz Carvajal" userId="c61208ed-cfc9-41db-b98e-8ca1e81cbf8a" providerId="ADAL" clId="{E204D41B-C1EF-4B9B-AF0F-02FA114F4F41}" dt="2022-11-11T16:50:17.685" v="0" actId="1076"/>
      <pc:docMkLst>
        <pc:docMk/>
      </pc:docMkLst>
      <pc:sldChg chg="modSp mod">
        <pc:chgData name="Daniel Esteban Ortiz Carvajal" userId="c61208ed-cfc9-41db-b98e-8ca1e81cbf8a" providerId="ADAL" clId="{E204D41B-C1EF-4B9B-AF0F-02FA114F4F41}" dt="2022-11-11T16:50:17.685" v="0" actId="1076"/>
        <pc:sldMkLst>
          <pc:docMk/>
          <pc:sldMk cId="3851816687" sldId="303"/>
        </pc:sldMkLst>
        <pc:picChg chg="mod">
          <ac:chgData name="Daniel Esteban Ortiz Carvajal" userId="c61208ed-cfc9-41db-b98e-8ca1e81cbf8a" providerId="ADAL" clId="{E204D41B-C1EF-4B9B-AF0F-02FA114F4F41}" dt="2022-11-11T16:50:17.685" v="0" actId="1076"/>
          <ac:picMkLst>
            <pc:docMk/>
            <pc:sldMk cId="3851816687" sldId="303"/>
            <ac:picMk id="9" creationId="{DC4A93A9-572E-48AE-A755-0A753D515E64}"/>
          </ac:picMkLst>
        </pc:picChg>
      </pc:sldChg>
    </pc:docChg>
  </pc:docChgLst>
  <pc:docChgLst>
    <pc:chgData name="Daniel Esteban Ortiz Carvajal" userId="c61208ed-cfc9-41db-b98e-8ca1e81cbf8a" providerId="ADAL" clId="{D832C272-8512-4C3D-8DDF-489EB9DC1842}"/>
    <pc:docChg chg="undo custSel addSld delSld modSld sldOrd">
      <pc:chgData name="Daniel Esteban Ortiz Carvajal" userId="c61208ed-cfc9-41db-b98e-8ca1e81cbf8a" providerId="ADAL" clId="{D832C272-8512-4C3D-8DDF-489EB9DC1842}" dt="2022-08-19T20:40:24.883" v="3930" actId="20577"/>
      <pc:docMkLst>
        <pc:docMk/>
      </pc:docMkLst>
      <pc:sldChg chg="delSp modSp mod">
        <pc:chgData name="Daniel Esteban Ortiz Carvajal" userId="c61208ed-cfc9-41db-b98e-8ca1e81cbf8a" providerId="ADAL" clId="{D832C272-8512-4C3D-8DDF-489EB9DC1842}" dt="2022-08-16T15:10:01.111" v="2314" actId="20577"/>
        <pc:sldMkLst>
          <pc:docMk/>
          <pc:sldMk cId="3585969165" sldId="305"/>
        </pc:sldMkLst>
        <pc:spChg chg="del">
          <ac:chgData name="Daniel Esteban Ortiz Carvajal" userId="c61208ed-cfc9-41db-b98e-8ca1e81cbf8a" providerId="ADAL" clId="{D832C272-8512-4C3D-8DDF-489EB9DC1842}" dt="2022-08-12T19:14:54.506" v="890" actId="478"/>
          <ac:spMkLst>
            <pc:docMk/>
            <pc:sldMk cId="3585969165" sldId="305"/>
            <ac:spMk id="9" creationId="{B0AC231E-24D0-47D9-A346-13D09D845293}"/>
          </ac:spMkLst>
        </pc:spChg>
        <pc:spChg chg="mod">
          <ac:chgData name="Daniel Esteban Ortiz Carvajal" userId="c61208ed-cfc9-41db-b98e-8ca1e81cbf8a" providerId="ADAL" clId="{D832C272-8512-4C3D-8DDF-489EB9DC1842}" dt="2022-08-16T15:10:01.111" v="2314" actId="20577"/>
          <ac:spMkLst>
            <pc:docMk/>
            <pc:sldMk cId="3585969165" sldId="305"/>
            <ac:spMk id="11" creationId="{26517BED-F2B2-4B7E-B542-C98D2F766B72}"/>
          </ac:spMkLst>
        </pc:spChg>
      </pc:sldChg>
      <pc:sldChg chg="del">
        <pc:chgData name="Daniel Esteban Ortiz Carvajal" userId="c61208ed-cfc9-41db-b98e-8ca1e81cbf8a" providerId="ADAL" clId="{D832C272-8512-4C3D-8DDF-489EB9DC1842}" dt="2022-08-12T17:33:29.827" v="45" actId="47"/>
        <pc:sldMkLst>
          <pc:docMk/>
          <pc:sldMk cId="3372177359" sldId="306"/>
        </pc:sldMkLst>
      </pc:sldChg>
      <pc:sldChg chg="del">
        <pc:chgData name="Daniel Esteban Ortiz Carvajal" userId="c61208ed-cfc9-41db-b98e-8ca1e81cbf8a" providerId="ADAL" clId="{D832C272-8512-4C3D-8DDF-489EB9DC1842}" dt="2022-08-12T17:33:30.881" v="46" actId="47"/>
        <pc:sldMkLst>
          <pc:docMk/>
          <pc:sldMk cId="2492466882" sldId="327"/>
        </pc:sldMkLst>
      </pc:sldChg>
      <pc:sldChg chg="delSp modSp mod">
        <pc:chgData name="Daniel Esteban Ortiz Carvajal" userId="c61208ed-cfc9-41db-b98e-8ca1e81cbf8a" providerId="ADAL" clId="{D832C272-8512-4C3D-8DDF-489EB9DC1842}" dt="2022-08-12T19:14:52.055" v="889" actId="478"/>
        <pc:sldMkLst>
          <pc:docMk/>
          <pc:sldMk cId="3651812480" sldId="329"/>
        </pc:sldMkLst>
        <pc:spChg chg="mod">
          <ac:chgData name="Daniel Esteban Ortiz Carvajal" userId="c61208ed-cfc9-41db-b98e-8ca1e81cbf8a" providerId="ADAL" clId="{D832C272-8512-4C3D-8DDF-489EB9DC1842}" dt="2022-08-12T17:33:37.211" v="48" actId="20577"/>
          <ac:spMkLst>
            <pc:docMk/>
            <pc:sldMk cId="3651812480" sldId="329"/>
            <ac:spMk id="2" creationId="{C274B575-B31C-415F-AF62-A305A7D4E415}"/>
          </ac:spMkLst>
        </pc:spChg>
        <pc:spChg chg="del">
          <ac:chgData name="Daniel Esteban Ortiz Carvajal" userId="c61208ed-cfc9-41db-b98e-8ca1e81cbf8a" providerId="ADAL" clId="{D832C272-8512-4C3D-8DDF-489EB9DC1842}" dt="2022-08-12T19:14:52.055" v="889" actId="478"/>
          <ac:spMkLst>
            <pc:docMk/>
            <pc:sldMk cId="3651812480" sldId="329"/>
            <ac:spMk id="7" creationId="{0A875C65-F8AE-41DF-8148-5FCD78A6295A}"/>
          </ac:spMkLst>
        </pc:spChg>
      </pc:sldChg>
      <pc:sldChg chg="delSp modSp mod ord">
        <pc:chgData name="Daniel Esteban Ortiz Carvajal" userId="c61208ed-cfc9-41db-b98e-8ca1e81cbf8a" providerId="ADAL" clId="{D832C272-8512-4C3D-8DDF-489EB9DC1842}" dt="2022-08-16T12:44:06.912" v="1746" actId="1036"/>
        <pc:sldMkLst>
          <pc:docMk/>
          <pc:sldMk cId="2641930197" sldId="330"/>
        </pc:sldMkLst>
        <pc:spChg chg="mod">
          <ac:chgData name="Daniel Esteban Ortiz Carvajal" userId="c61208ed-cfc9-41db-b98e-8ca1e81cbf8a" providerId="ADAL" clId="{D832C272-8512-4C3D-8DDF-489EB9DC1842}" dt="2022-08-12T17:34:38.631" v="116" actId="20577"/>
          <ac:spMkLst>
            <pc:docMk/>
            <pc:sldMk cId="2641930197" sldId="330"/>
            <ac:spMk id="2" creationId="{C274B575-B31C-415F-AF62-A305A7D4E415}"/>
          </ac:spMkLst>
        </pc:spChg>
        <pc:spChg chg="mod">
          <ac:chgData name="Daniel Esteban Ortiz Carvajal" userId="c61208ed-cfc9-41db-b98e-8ca1e81cbf8a" providerId="ADAL" clId="{D832C272-8512-4C3D-8DDF-489EB9DC1842}" dt="2022-08-12T19:36:43.902" v="1696" actId="113"/>
          <ac:spMkLst>
            <pc:docMk/>
            <pc:sldMk cId="2641930197" sldId="330"/>
            <ac:spMk id="3" creationId="{9F907A29-1784-4E0C-A8FE-033C7E24E547}"/>
          </ac:spMkLst>
        </pc:spChg>
        <pc:spChg chg="del">
          <ac:chgData name="Daniel Esteban Ortiz Carvajal" userId="c61208ed-cfc9-41db-b98e-8ca1e81cbf8a" providerId="ADAL" clId="{D832C272-8512-4C3D-8DDF-489EB9DC1842}" dt="2022-08-12T19:14:49.266" v="888" actId="478"/>
          <ac:spMkLst>
            <pc:docMk/>
            <pc:sldMk cId="2641930197" sldId="330"/>
            <ac:spMk id="7" creationId="{0A875C65-F8AE-41DF-8148-5FCD78A6295A}"/>
          </ac:spMkLst>
        </pc:spChg>
        <pc:picChg chg="mod">
          <ac:chgData name="Daniel Esteban Ortiz Carvajal" userId="c61208ed-cfc9-41db-b98e-8ca1e81cbf8a" providerId="ADAL" clId="{D832C272-8512-4C3D-8DDF-489EB9DC1842}" dt="2022-08-16T12:44:06.912" v="1746" actId="1036"/>
          <ac:picMkLst>
            <pc:docMk/>
            <pc:sldMk cId="2641930197" sldId="330"/>
            <ac:picMk id="8" creationId="{DFA46584-4C0F-4B49-A951-8F2B5286DC52}"/>
          </ac:picMkLst>
        </pc:picChg>
      </pc:sldChg>
      <pc:sldChg chg="delSp modSp mod ord">
        <pc:chgData name="Daniel Esteban Ortiz Carvajal" userId="c61208ed-cfc9-41db-b98e-8ca1e81cbf8a" providerId="ADAL" clId="{D832C272-8512-4C3D-8DDF-489EB9DC1842}" dt="2022-08-12T19:38:48.983" v="1702" actId="20577"/>
        <pc:sldMkLst>
          <pc:docMk/>
          <pc:sldMk cId="2701873555" sldId="333"/>
        </pc:sldMkLst>
        <pc:spChg chg="mod">
          <ac:chgData name="Daniel Esteban Ortiz Carvajal" userId="c61208ed-cfc9-41db-b98e-8ca1e81cbf8a" providerId="ADAL" clId="{D832C272-8512-4C3D-8DDF-489EB9DC1842}" dt="2022-08-12T17:34:34.901" v="114" actId="20577"/>
          <ac:spMkLst>
            <pc:docMk/>
            <pc:sldMk cId="2701873555" sldId="333"/>
            <ac:spMk id="2" creationId="{C274B575-B31C-415F-AF62-A305A7D4E415}"/>
          </ac:spMkLst>
        </pc:spChg>
        <pc:spChg chg="del">
          <ac:chgData name="Daniel Esteban Ortiz Carvajal" userId="c61208ed-cfc9-41db-b98e-8ca1e81cbf8a" providerId="ADAL" clId="{D832C272-8512-4C3D-8DDF-489EB9DC1842}" dt="2022-08-12T19:14:46.816" v="887" actId="478"/>
          <ac:spMkLst>
            <pc:docMk/>
            <pc:sldMk cId="2701873555" sldId="333"/>
            <ac:spMk id="7" creationId="{0A875C65-F8AE-41DF-8148-5FCD78A6295A}"/>
          </ac:spMkLst>
        </pc:spChg>
        <pc:spChg chg="mod">
          <ac:chgData name="Daniel Esteban Ortiz Carvajal" userId="c61208ed-cfc9-41db-b98e-8ca1e81cbf8a" providerId="ADAL" clId="{D832C272-8512-4C3D-8DDF-489EB9DC1842}" dt="2022-08-12T19:38:48.983" v="1702" actId="20577"/>
          <ac:spMkLst>
            <pc:docMk/>
            <pc:sldMk cId="2701873555" sldId="333"/>
            <ac:spMk id="15" creationId="{CE24284A-B6C5-4B7D-B962-43794F8876BE}"/>
          </ac:spMkLst>
        </pc:spChg>
      </pc:sldChg>
      <pc:sldChg chg="modSp del mod">
        <pc:chgData name="Daniel Esteban Ortiz Carvajal" userId="c61208ed-cfc9-41db-b98e-8ca1e81cbf8a" providerId="ADAL" clId="{D832C272-8512-4C3D-8DDF-489EB9DC1842}" dt="2022-08-12T18:50:02.795" v="480" actId="47"/>
        <pc:sldMkLst>
          <pc:docMk/>
          <pc:sldMk cId="1304682703" sldId="334"/>
        </pc:sldMkLst>
        <pc:spChg chg="mod">
          <ac:chgData name="Daniel Esteban Ortiz Carvajal" userId="c61208ed-cfc9-41db-b98e-8ca1e81cbf8a" providerId="ADAL" clId="{D832C272-8512-4C3D-8DDF-489EB9DC1842}" dt="2022-08-12T17:34:24.458" v="112" actId="20577"/>
          <ac:spMkLst>
            <pc:docMk/>
            <pc:sldMk cId="1304682703" sldId="334"/>
            <ac:spMk id="2" creationId="{C274B575-B31C-415F-AF62-A305A7D4E415}"/>
          </ac:spMkLst>
        </pc:spChg>
      </pc:sldChg>
      <pc:sldChg chg="addSp delSp modSp mod">
        <pc:chgData name="Daniel Esteban Ortiz Carvajal" userId="c61208ed-cfc9-41db-b98e-8ca1e81cbf8a" providerId="ADAL" clId="{D832C272-8512-4C3D-8DDF-489EB9DC1842}" dt="2022-08-16T15:12:26.381" v="2345" actId="20577"/>
        <pc:sldMkLst>
          <pc:docMk/>
          <pc:sldMk cId="1277006554" sldId="335"/>
        </pc:sldMkLst>
        <pc:spChg chg="mod">
          <ac:chgData name="Daniel Esteban Ortiz Carvajal" userId="c61208ed-cfc9-41db-b98e-8ca1e81cbf8a" providerId="ADAL" clId="{D832C272-8512-4C3D-8DDF-489EB9DC1842}" dt="2022-08-16T15:12:26.381" v="2345" actId="20577"/>
          <ac:spMkLst>
            <pc:docMk/>
            <pc:sldMk cId="1277006554" sldId="335"/>
            <ac:spMk id="2" creationId="{C274B575-B31C-415F-AF62-A305A7D4E415}"/>
          </ac:spMkLst>
        </pc:spChg>
        <pc:spChg chg="mod">
          <ac:chgData name="Daniel Esteban Ortiz Carvajal" userId="c61208ed-cfc9-41db-b98e-8ca1e81cbf8a" providerId="ADAL" clId="{D832C272-8512-4C3D-8DDF-489EB9DC1842}" dt="2022-08-16T15:10:37.791" v="2329" actId="20577"/>
          <ac:spMkLst>
            <pc:docMk/>
            <pc:sldMk cId="1277006554" sldId="335"/>
            <ac:spMk id="3" creationId="{9F907A29-1784-4E0C-A8FE-033C7E24E547}"/>
          </ac:spMkLst>
        </pc:spChg>
        <pc:spChg chg="del">
          <ac:chgData name="Daniel Esteban Ortiz Carvajal" userId="c61208ed-cfc9-41db-b98e-8ca1e81cbf8a" providerId="ADAL" clId="{D832C272-8512-4C3D-8DDF-489EB9DC1842}" dt="2022-08-16T15:12:09.272" v="2336" actId="478"/>
          <ac:spMkLst>
            <pc:docMk/>
            <pc:sldMk cId="1277006554" sldId="335"/>
            <ac:spMk id="14" creationId="{E267B9E4-8869-4F7C-B2C8-3C54BE8B724B}"/>
          </ac:spMkLst>
        </pc:spChg>
        <pc:spChg chg="del">
          <ac:chgData name="Daniel Esteban Ortiz Carvajal" userId="c61208ed-cfc9-41db-b98e-8ca1e81cbf8a" providerId="ADAL" clId="{D832C272-8512-4C3D-8DDF-489EB9DC1842}" dt="2022-08-16T15:12:12.493" v="2339" actId="478"/>
          <ac:spMkLst>
            <pc:docMk/>
            <pc:sldMk cId="1277006554" sldId="335"/>
            <ac:spMk id="15" creationId="{4717B38C-374D-4209-AF12-B74534F1B827}"/>
          </ac:spMkLst>
        </pc:spChg>
        <pc:spChg chg="del">
          <ac:chgData name="Daniel Esteban Ortiz Carvajal" userId="c61208ed-cfc9-41db-b98e-8ca1e81cbf8a" providerId="ADAL" clId="{D832C272-8512-4C3D-8DDF-489EB9DC1842}" dt="2022-08-16T15:12:12.493" v="2339" actId="478"/>
          <ac:spMkLst>
            <pc:docMk/>
            <pc:sldMk cId="1277006554" sldId="335"/>
            <ac:spMk id="16" creationId="{DC215C2E-A2B0-4C8E-AB6F-6746242EE368}"/>
          </ac:spMkLst>
        </pc:spChg>
        <pc:picChg chg="del mod">
          <ac:chgData name="Daniel Esteban Ortiz Carvajal" userId="c61208ed-cfc9-41db-b98e-8ca1e81cbf8a" providerId="ADAL" clId="{D832C272-8512-4C3D-8DDF-489EB9DC1842}" dt="2022-08-16T15:08:03.639" v="2219" actId="478"/>
          <ac:picMkLst>
            <pc:docMk/>
            <pc:sldMk cId="1277006554" sldId="335"/>
            <ac:picMk id="6" creationId="{0C9F669B-0D9A-401A-A2A1-271BC17C66EA}"/>
          </ac:picMkLst>
        </pc:picChg>
        <pc:picChg chg="del">
          <ac:chgData name="Daniel Esteban Ortiz Carvajal" userId="c61208ed-cfc9-41db-b98e-8ca1e81cbf8a" providerId="ADAL" clId="{D832C272-8512-4C3D-8DDF-489EB9DC1842}" dt="2022-08-16T15:12:09.794" v="2337" actId="478"/>
          <ac:picMkLst>
            <pc:docMk/>
            <pc:sldMk cId="1277006554" sldId="335"/>
            <ac:picMk id="9" creationId="{F83A07D4-0ED8-4AD7-830E-67A7FCA0C016}"/>
          </ac:picMkLst>
        </pc:picChg>
        <pc:picChg chg="add mod">
          <ac:chgData name="Daniel Esteban Ortiz Carvajal" userId="c61208ed-cfc9-41db-b98e-8ca1e81cbf8a" providerId="ADAL" clId="{D832C272-8512-4C3D-8DDF-489EB9DC1842}" dt="2022-08-16T15:12:15.240" v="2342" actId="1076"/>
          <ac:picMkLst>
            <pc:docMk/>
            <pc:sldMk cId="1277006554" sldId="335"/>
            <ac:picMk id="11" creationId="{1995A55C-24C2-425E-B949-BF6B70FFC64A}"/>
          </ac:picMkLst>
        </pc:picChg>
        <pc:picChg chg="add del mod">
          <ac:chgData name="Daniel Esteban Ortiz Carvajal" userId="c61208ed-cfc9-41db-b98e-8ca1e81cbf8a" providerId="ADAL" clId="{D832C272-8512-4C3D-8DDF-489EB9DC1842}" dt="2022-08-16T15:11:55.581" v="2334" actId="478"/>
          <ac:picMkLst>
            <pc:docMk/>
            <pc:sldMk cId="1277006554" sldId="335"/>
            <ac:picMk id="12" creationId="{B518A493-AB30-4B70-B404-C43EE588E625}"/>
          </ac:picMkLst>
        </pc:picChg>
        <pc:picChg chg="add del mod">
          <ac:chgData name="Daniel Esteban Ortiz Carvajal" userId="c61208ed-cfc9-41db-b98e-8ca1e81cbf8a" providerId="ADAL" clId="{D832C272-8512-4C3D-8DDF-489EB9DC1842}" dt="2022-08-16T15:11:55.037" v="2333" actId="478"/>
          <ac:picMkLst>
            <pc:docMk/>
            <pc:sldMk cId="1277006554" sldId="335"/>
            <ac:picMk id="13" creationId="{9BC8A0D0-4D95-4065-B501-EF08AC24B9BE}"/>
          </ac:picMkLst>
        </pc:picChg>
      </pc:sldChg>
      <pc:sldChg chg="addSp delSp modSp mod ord setBg">
        <pc:chgData name="Daniel Esteban Ortiz Carvajal" userId="c61208ed-cfc9-41db-b98e-8ca1e81cbf8a" providerId="ADAL" clId="{D832C272-8512-4C3D-8DDF-489EB9DC1842}" dt="2022-08-16T13:50:29.719" v="2095" actId="1076"/>
        <pc:sldMkLst>
          <pc:docMk/>
          <pc:sldMk cId="2951470416" sldId="336"/>
        </pc:sldMkLst>
        <pc:spChg chg="mod">
          <ac:chgData name="Daniel Esteban Ortiz Carvajal" userId="c61208ed-cfc9-41db-b98e-8ca1e81cbf8a" providerId="ADAL" clId="{D832C272-8512-4C3D-8DDF-489EB9DC1842}" dt="2022-08-12T18:50:46.161" v="493" actId="20577"/>
          <ac:spMkLst>
            <pc:docMk/>
            <pc:sldMk cId="2951470416" sldId="336"/>
            <ac:spMk id="2" creationId="{C274B575-B31C-415F-AF62-A305A7D4E415}"/>
          </ac:spMkLst>
        </pc:spChg>
        <pc:spChg chg="mod">
          <ac:chgData name="Daniel Esteban Ortiz Carvajal" userId="c61208ed-cfc9-41db-b98e-8ca1e81cbf8a" providerId="ADAL" clId="{D832C272-8512-4C3D-8DDF-489EB9DC1842}" dt="2022-08-12T19:41:20.001" v="1708" actId="20577"/>
          <ac:spMkLst>
            <pc:docMk/>
            <pc:sldMk cId="2951470416" sldId="336"/>
            <ac:spMk id="3" creationId="{9F907A29-1784-4E0C-A8FE-033C7E24E547}"/>
          </ac:spMkLst>
        </pc:spChg>
        <pc:spChg chg="del mod">
          <ac:chgData name="Daniel Esteban Ortiz Carvajal" userId="c61208ed-cfc9-41db-b98e-8ca1e81cbf8a" providerId="ADAL" clId="{D832C272-8512-4C3D-8DDF-489EB9DC1842}" dt="2022-08-12T19:14:43.421" v="886" actId="478"/>
          <ac:spMkLst>
            <pc:docMk/>
            <pc:sldMk cId="2951470416" sldId="336"/>
            <ac:spMk id="7" creationId="{0A875C65-F8AE-41DF-8148-5FCD78A6295A}"/>
          </ac:spMkLst>
        </pc:spChg>
        <pc:spChg chg="del mod">
          <ac:chgData name="Daniel Esteban Ortiz Carvajal" userId="c61208ed-cfc9-41db-b98e-8ca1e81cbf8a" providerId="ADAL" clId="{D832C272-8512-4C3D-8DDF-489EB9DC1842}" dt="2022-08-12T19:12:14.776" v="790" actId="478"/>
          <ac:spMkLst>
            <pc:docMk/>
            <pc:sldMk cId="2951470416" sldId="336"/>
            <ac:spMk id="11" creationId="{06F5F878-718A-462B-9D5D-A1DA92D7DA05}"/>
          </ac:spMkLst>
        </pc:spChg>
        <pc:spChg chg="add mod">
          <ac:chgData name="Daniel Esteban Ortiz Carvajal" userId="c61208ed-cfc9-41db-b98e-8ca1e81cbf8a" providerId="ADAL" clId="{D832C272-8512-4C3D-8DDF-489EB9DC1842}" dt="2022-08-12T19:14:28.305" v="881" actId="14100"/>
          <ac:spMkLst>
            <pc:docMk/>
            <pc:sldMk cId="2951470416" sldId="336"/>
            <ac:spMk id="14" creationId="{9A2FFE33-8759-4C5C-AC8C-A5FF31F4B56B}"/>
          </ac:spMkLst>
        </pc:spChg>
        <pc:picChg chg="del mod">
          <ac:chgData name="Daniel Esteban Ortiz Carvajal" userId="c61208ed-cfc9-41db-b98e-8ca1e81cbf8a" providerId="ADAL" clId="{D832C272-8512-4C3D-8DDF-489EB9DC1842}" dt="2022-08-12T19:12:12.057" v="789" actId="478"/>
          <ac:picMkLst>
            <pc:docMk/>
            <pc:sldMk cId="2951470416" sldId="336"/>
            <ac:picMk id="6" creationId="{142B9058-1D16-49FE-B9E7-DAFE96B30DF9}"/>
          </ac:picMkLst>
        </pc:picChg>
        <pc:picChg chg="add mod">
          <ac:chgData name="Daniel Esteban Ortiz Carvajal" userId="c61208ed-cfc9-41db-b98e-8ca1e81cbf8a" providerId="ADAL" clId="{D832C272-8512-4C3D-8DDF-489EB9DC1842}" dt="2022-08-16T13:50:29.719" v="2095" actId="1076"/>
          <ac:picMkLst>
            <pc:docMk/>
            <pc:sldMk cId="2951470416" sldId="336"/>
            <ac:picMk id="8" creationId="{BEBD96EB-7494-4DD2-AA48-1E1B42642F16}"/>
          </ac:picMkLst>
        </pc:picChg>
        <pc:picChg chg="add del mod">
          <ac:chgData name="Daniel Esteban Ortiz Carvajal" userId="c61208ed-cfc9-41db-b98e-8ca1e81cbf8a" providerId="ADAL" clId="{D832C272-8512-4C3D-8DDF-489EB9DC1842}" dt="2022-08-12T19:14:07.846" v="872" actId="478"/>
          <ac:picMkLst>
            <pc:docMk/>
            <pc:sldMk cId="2951470416" sldId="336"/>
            <ac:picMk id="12" creationId="{DB9735E2-6714-4DDC-BB27-74840EA55944}"/>
          </ac:picMkLst>
        </pc:picChg>
        <pc:picChg chg="del mod">
          <ac:chgData name="Daniel Esteban Ortiz Carvajal" userId="c61208ed-cfc9-41db-b98e-8ca1e81cbf8a" providerId="ADAL" clId="{D832C272-8512-4C3D-8DDF-489EB9DC1842}" dt="2022-08-12T19:12:16.812" v="792" actId="478"/>
          <ac:picMkLst>
            <pc:docMk/>
            <pc:sldMk cId="2951470416" sldId="336"/>
            <ac:picMk id="13" creationId="{6D4B988B-A1F1-4A7F-9B5B-B10DE6816068}"/>
          </ac:picMkLst>
        </pc:picChg>
      </pc:sldChg>
      <pc:sldChg chg="addSp delSp modSp add mod">
        <pc:chgData name="Daniel Esteban Ortiz Carvajal" userId="c61208ed-cfc9-41db-b98e-8ca1e81cbf8a" providerId="ADAL" clId="{D832C272-8512-4C3D-8DDF-489EB9DC1842}" dt="2022-08-12T19:24:46.623" v="1210" actId="1076"/>
        <pc:sldMkLst>
          <pc:docMk/>
          <pc:sldMk cId="1477848757" sldId="337"/>
        </pc:sldMkLst>
        <pc:spChg chg="mod">
          <ac:chgData name="Daniel Esteban Ortiz Carvajal" userId="c61208ed-cfc9-41db-b98e-8ca1e81cbf8a" providerId="ADAL" clId="{D832C272-8512-4C3D-8DDF-489EB9DC1842}" dt="2022-08-12T19:15:17.108" v="891"/>
          <ac:spMkLst>
            <pc:docMk/>
            <pc:sldMk cId="1477848757" sldId="337"/>
            <ac:spMk id="2" creationId="{C274B575-B31C-415F-AF62-A305A7D4E415}"/>
          </ac:spMkLst>
        </pc:spChg>
        <pc:spChg chg="mod">
          <ac:chgData name="Daniel Esteban Ortiz Carvajal" userId="c61208ed-cfc9-41db-b98e-8ca1e81cbf8a" providerId="ADAL" clId="{D832C272-8512-4C3D-8DDF-489EB9DC1842}" dt="2022-08-12T19:18:33.392" v="1132" actId="20577"/>
          <ac:spMkLst>
            <pc:docMk/>
            <pc:sldMk cId="1477848757" sldId="337"/>
            <ac:spMk id="3" creationId="{9F907A29-1784-4E0C-A8FE-033C7E24E547}"/>
          </ac:spMkLst>
        </pc:spChg>
        <pc:spChg chg="del">
          <ac:chgData name="Daniel Esteban Ortiz Carvajal" userId="c61208ed-cfc9-41db-b98e-8ca1e81cbf8a" providerId="ADAL" clId="{D832C272-8512-4C3D-8DDF-489EB9DC1842}" dt="2022-08-12T17:38:29.791" v="174" actId="478"/>
          <ac:spMkLst>
            <pc:docMk/>
            <pc:sldMk cId="1477848757" sldId="337"/>
            <ac:spMk id="11" creationId="{C3817D5B-1AF9-4157-83E9-F32F433F749A}"/>
          </ac:spMkLst>
        </pc:spChg>
        <pc:spChg chg="del mod">
          <ac:chgData name="Daniel Esteban Ortiz Carvajal" userId="c61208ed-cfc9-41db-b98e-8ca1e81cbf8a" providerId="ADAL" clId="{D832C272-8512-4C3D-8DDF-489EB9DC1842}" dt="2022-08-12T19:18:28.801" v="1130" actId="478"/>
          <ac:spMkLst>
            <pc:docMk/>
            <pc:sldMk cId="1477848757" sldId="337"/>
            <ac:spMk id="15" creationId="{CE24284A-B6C5-4B7D-B962-43794F8876BE}"/>
          </ac:spMkLst>
        </pc:spChg>
        <pc:spChg chg="add mod">
          <ac:chgData name="Daniel Esteban Ortiz Carvajal" userId="c61208ed-cfc9-41db-b98e-8ca1e81cbf8a" providerId="ADAL" clId="{D832C272-8512-4C3D-8DDF-489EB9DC1842}" dt="2022-08-12T19:24:24.857" v="1184" actId="14100"/>
          <ac:spMkLst>
            <pc:docMk/>
            <pc:sldMk cId="1477848757" sldId="337"/>
            <ac:spMk id="20" creationId="{F33094C5-C94C-45FE-BC44-EC03B17C8A0C}"/>
          </ac:spMkLst>
        </pc:spChg>
        <pc:spChg chg="add mod">
          <ac:chgData name="Daniel Esteban Ortiz Carvajal" userId="c61208ed-cfc9-41db-b98e-8ca1e81cbf8a" providerId="ADAL" clId="{D832C272-8512-4C3D-8DDF-489EB9DC1842}" dt="2022-08-12T19:24:46.623" v="1210" actId="1076"/>
          <ac:spMkLst>
            <pc:docMk/>
            <pc:sldMk cId="1477848757" sldId="337"/>
            <ac:spMk id="21" creationId="{CE584544-6DB8-4D15-A190-2EED7A8FE26F}"/>
          </ac:spMkLst>
        </pc:spChg>
        <pc:picChg chg="del">
          <ac:chgData name="Daniel Esteban Ortiz Carvajal" userId="c61208ed-cfc9-41db-b98e-8ca1e81cbf8a" providerId="ADAL" clId="{D832C272-8512-4C3D-8DDF-489EB9DC1842}" dt="2022-08-12T17:38:24.981" v="171" actId="478"/>
          <ac:picMkLst>
            <pc:docMk/>
            <pc:sldMk cId="1477848757" sldId="337"/>
            <ac:picMk id="6" creationId="{9C1AD289-F0A5-4095-8677-737A580783C9}"/>
          </ac:picMkLst>
        </pc:picChg>
        <pc:picChg chg="add del mod">
          <ac:chgData name="Daniel Esteban Ortiz Carvajal" userId="c61208ed-cfc9-41db-b98e-8ca1e81cbf8a" providerId="ADAL" clId="{D832C272-8512-4C3D-8DDF-489EB9DC1842}" dt="2022-08-12T19:19:17.323" v="1135" actId="478"/>
          <ac:picMkLst>
            <pc:docMk/>
            <pc:sldMk cId="1477848757" sldId="337"/>
            <ac:picMk id="8" creationId="{FE00119F-E356-497A-8852-55A61652E18F}"/>
          </ac:picMkLst>
        </pc:picChg>
        <pc:picChg chg="del mod">
          <ac:chgData name="Daniel Esteban Ortiz Carvajal" userId="c61208ed-cfc9-41db-b98e-8ca1e81cbf8a" providerId="ADAL" clId="{D832C272-8512-4C3D-8DDF-489EB9DC1842}" dt="2022-08-12T19:20:52.201" v="1140" actId="478"/>
          <ac:picMkLst>
            <pc:docMk/>
            <pc:sldMk cId="1477848757" sldId="337"/>
            <ac:picMk id="9" creationId="{DE3F86A2-227E-4973-9BC6-548E8C61879D}"/>
          </ac:picMkLst>
        </pc:picChg>
        <pc:picChg chg="add mod">
          <ac:chgData name="Daniel Esteban Ortiz Carvajal" userId="c61208ed-cfc9-41db-b98e-8ca1e81cbf8a" providerId="ADAL" clId="{D832C272-8512-4C3D-8DDF-489EB9DC1842}" dt="2022-08-12T19:24:12.658" v="1177" actId="1076"/>
          <ac:picMkLst>
            <pc:docMk/>
            <pc:sldMk cId="1477848757" sldId="337"/>
            <ac:picMk id="12" creationId="{567EEC18-2A6E-419D-9981-465E4EF70D6C}"/>
          </ac:picMkLst>
        </pc:picChg>
        <pc:picChg chg="add mod">
          <ac:chgData name="Daniel Esteban Ortiz Carvajal" userId="c61208ed-cfc9-41db-b98e-8ca1e81cbf8a" providerId="ADAL" clId="{D832C272-8512-4C3D-8DDF-489EB9DC1842}" dt="2022-08-12T19:22:47.975" v="1158" actId="1076"/>
          <ac:picMkLst>
            <pc:docMk/>
            <pc:sldMk cId="1477848757" sldId="337"/>
            <ac:picMk id="14" creationId="{B65299E5-82F1-49EA-B654-55C84AB1C232}"/>
          </ac:picMkLst>
        </pc:picChg>
        <pc:cxnChg chg="add mod">
          <ac:chgData name="Daniel Esteban Ortiz Carvajal" userId="c61208ed-cfc9-41db-b98e-8ca1e81cbf8a" providerId="ADAL" clId="{D832C272-8512-4C3D-8DDF-489EB9DC1842}" dt="2022-08-12T19:23:23.988" v="1165" actId="14100"/>
          <ac:cxnSpMkLst>
            <pc:docMk/>
            <pc:sldMk cId="1477848757" sldId="337"/>
            <ac:cxnSpMk id="17" creationId="{0D7ECB11-2804-4EB2-AF54-6824F4C8C98A}"/>
          </ac:cxnSpMkLst>
        </pc:cxnChg>
      </pc:sldChg>
      <pc:sldChg chg="modSp add del mod">
        <pc:chgData name="Daniel Esteban Ortiz Carvajal" userId="c61208ed-cfc9-41db-b98e-8ca1e81cbf8a" providerId="ADAL" clId="{D832C272-8512-4C3D-8DDF-489EB9DC1842}" dt="2022-08-16T13:38:02.966" v="1982" actId="47"/>
        <pc:sldMkLst>
          <pc:docMk/>
          <pc:sldMk cId="205841001" sldId="338"/>
        </pc:sldMkLst>
        <pc:spChg chg="mod">
          <ac:chgData name="Daniel Esteban Ortiz Carvajal" userId="c61208ed-cfc9-41db-b98e-8ca1e81cbf8a" providerId="ADAL" clId="{D832C272-8512-4C3D-8DDF-489EB9DC1842}" dt="2022-08-12T17:40:27.862" v="451" actId="20577"/>
          <ac:spMkLst>
            <pc:docMk/>
            <pc:sldMk cId="205841001" sldId="338"/>
            <ac:spMk id="2" creationId="{C274B575-B31C-415F-AF62-A305A7D4E415}"/>
          </ac:spMkLst>
        </pc:spChg>
        <pc:spChg chg="mod">
          <ac:chgData name="Daniel Esteban Ortiz Carvajal" userId="c61208ed-cfc9-41db-b98e-8ca1e81cbf8a" providerId="ADAL" clId="{D832C272-8512-4C3D-8DDF-489EB9DC1842}" dt="2022-08-12T18:46:02.780" v="469" actId="20577"/>
          <ac:spMkLst>
            <pc:docMk/>
            <pc:sldMk cId="205841001" sldId="338"/>
            <ac:spMk id="3" creationId="{9F907A29-1784-4E0C-A8FE-033C7E24E547}"/>
          </ac:spMkLst>
        </pc:spChg>
      </pc:sldChg>
      <pc:sldChg chg="addSp delSp modSp add mod">
        <pc:chgData name="Daniel Esteban Ortiz Carvajal" userId="c61208ed-cfc9-41db-b98e-8ca1e81cbf8a" providerId="ADAL" clId="{D832C272-8512-4C3D-8DDF-489EB9DC1842}" dt="2022-08-16T15:12:31.742" v="2347" actId="20577"/>
        <pc:sldMkLst>
          <pc:docMk/>
          <pc:sldMk cId="1632224810" sldId="339"/>
        </pc:sldMkLst>
        <pc:spChg chg="mod">
          <ac:chgData name="Daniel Esteban Ortiz Carvajal" userId="c61208ed-cfc9-41db-b98e-8ca1e81cbf8a" providerId="ADAL" clId="{D832C272-8512-4C3D-8DDF-489EB9DC1842}" dt="2022-08-16T15:12:31.742" v="2347" actId="20577"/>
          <ac:spMkLst>
            <pc:docMk/>
            <pc:sldMk cId="1632224810" sldId="339"/>
            <ac:spMk id="2" creationId="{C274B575-B31C-415F-AF62-A305A7D4E415}"/>
          </ac:spMkLst>
        </pc:spChg>
        <pc:spChg chg="mod">
          <ac:chgData name="Daniel Esteban Ortiz Carvajal" userId="c61208ed-cfc9-41db-b98e-8ca1e81cbf8a" providerId="ADAL" clId="{D832C272-8512-4C3D-8DDF-489EB9DC1842}" dt="2022-08-16T14:39:00.559" v="2193" actId="14100"/>
          <ac:spMkLst>
            <pc:docMk/>
            <pc:sldMk cId="1632224810" sldId="339"/>
            <ac:spMk id="3" creationId="{9F907A29-1784-4E0C-A8FE-033C7E24E547}"/>
          </ac:spMkLst>
        </pc:spChg>
        <pc:spChg chg="del mod">
          <ac:chgData name="Daniel Esteban Ortiz Carvajal" userId="c61208ed-cfc9-41db-b98e-8ca1e81cbf8a" providerId="ADAL" clId="{D832C272-8512-4C3D-8DDF-489EB9DC1842}" dt="2022-08-16T14:40:02.665" v="2198" actId="478"/>
          <ac:spMkLst>
            <pc:docMk/>
            <pc:sldMk cId="1632224810" sldId="339"/>
            <ac:spMk id="11" creationId="{C3817D5B-1AF9-4157-83E9-F32F433F749A}"/>
          </ac:spMkLst>
        </pc:spChg>
        <pc:spChg chg="mod">
          <ac:chgData name="Daniel Esteban Ortiz Carvajal" userId="c61208ed-cfc9-41db-b98e-8ca1e81cbf8a" providerId="ADAL" clId="{D832C272-8512-4C3D-8DDF-489EB9DC1842}" dt="2022-08-16T14:43:12.082" v="2202" actId="14100"/>
          <ac:spMkLst>
            <pc:docMk/>
            <pc:sldMk cId="1632224810" sldId="339"/>
            <ac:spMk id="15" creationId="{CE24284A-B6C5-4B7D-B962-43794F8876BE}"/>
          </ac:spMkLst>
        </pc:spChg>
        <pc:picChg chg="add del mod">
          <ac:chgData name="Daniel Esteban Ortiz Carvajal" userId="c61208ed-cfc9-41db-b98e-8ca1e81cbf8a" providerId="ADAL" clId="{D832C272-8512-4C3D-8DDF-489EB9DC1842}" dt="2022-08-16T13:50:16.310" v="2093" actId="478"/>
          <ac:picMkLst>
            <pc:docMk/>
            <pc:sldMk cId="1632224810" sldId="339"/>
            <ac:picMk id="6" creationId="{2B419F98-8CF1-43A1-96AD-89BDEE53BAC8}"/>
          </ac:picMkLst>
        </pc:picChg>
        <pc:picChg chg="del">
          <ac:chgData name="Daniel Esteban Ortiz Carvajal" userId="c61208ed-cfc9-41db-b98e-8ca1e81cbf8a" providerId="ADAL" clId="{D832C272-8512-4C3D-8DDF-489EB9DC1842}" dt="2022-08-16T14:38:29.848" v="2115" actId="478"/>
          <ac:picMkLst>
            <pc:docMk/>
            <pc:sldMk cId="1632224810" sldId="339"/>
            <ac:picMk id="8" creationId="{3683F089-D730-4C4D-9CB9-C9B56A630564}"/>
          </ac:picMkLst>
        </pc:picChg>
        <pc:picChg chg="add mod">
          <ac:chgData name="Daniel Esteban Ortiz Carvajal" userId="c61208ed-cfc9-41db-b98e-8ca1e81cbf8a" providerId="ADAL" clId="{D832C272-8512-4C3D-8DDF-489EB9DC1842}" dt="2022-08-16T14:43:00.988" v="2200" actId="1076"/>
          <ac:picMkLst>
            <pc:docMk/>
            <pc:sldMk cId="1632224810" sldId="339"/>
            <ac:picMk id="10" creationId="{0EF62CFF-DF72-4928-A37F-BB1D7D5ABF4C}"/>
          </ac:picMkLst>
        </pc:picChg>
        <pc:picChg chg="add del mod">
          <ac:chgData name="Daniel Esteban Ortiz Carvajal" userId="c61208ed-cfc9-41db-b98e-8ca1e81cbf8a" providerId="ADAL" clId="{D832C272-8512-4C3D-8DDF-489EB9DC1842}" dt="2022-08-16T15:07:59.564" v="2217" actId="21"/>
          <ac:picMkLst>
            <pc:docMk/>
            <pc:sldMk cId="1632224810" sldId="339"/>
            <ac:picMk id="12" creationId="{D00A01D3-FFF8-42E6-90CC-DFD301528062}"/>
          </ac:picMkLst>
        </pc:picChg>
      </pc:sldChg>
      <pc:sldChg chg="addSp delSp modSp add mod ord">
        <pc:chgData name="Daniel Esteban Ortiz Carvajal" userId="c61208ed-cfc9-41db-b98e-8ca1e81cbf8a" providerId="ADAL" clId="{D832C272-8512-4C3D-8DDF-489EB9DC1842}" dt="2022-08-19T20:40:24.883" v="3930" actId="20577"/>
        <pc:sldMkLst>
          <pc:docMk/>
          <pc:sldMk cId="409904691" sldId="340"/>
        </pc:sldMkLst>
        <pc:spChg chg="mod">
          <ac:chgData name="Daniel Esteban Ortiz Carvajal" userId="c61208ed-cfc9-41db-b98e-8ca1e81cbf8a" providerId="ADAL" clId="{D832C272-8512-4C3D-8DDF-489EB9DC1842}" dt="2022-08-19T20:40:24.883" v="3930" actId="20577"/>
          <ac:spMkLst>
            <pc:docMk/>
            <pc:sldMk cId="409904691" sldId="340"/>
            <ac:spMk id="3" creationId="{9F907A29-1784-4E0C-A8FE-033C7E24E547}"/>
          </ac:spMkLst>
        </pc:spChg>
        <pc:spChg chg="del">
          <ac:chgData name="Daniel Esteban Ortiz Carvajal" userId="c61208ed-cfc9-41db-b98e-8ca1e81cbf8a" providerId="ADAL" clId="{D832C272-8512-4C3D-8DDF-489EB9DC1842}" dt="2022-08-16T15:17:29.570" v="2475" actId="478"/>
          <ac:spMkLst>
            <pc:docMk/>
            <pc:sldMk cId="409904691" sldId="340"/>
            <ac:spMk id="7" creationId="{0A875C65-F8AE-41DF-8148-5FCD78A6295A}"/>
          </ac:spMkLst>
        </pc:spChg>
        <pc:spChg chg="del">
          <ac:chgData name="Daniel Esteban Ortiz Carvajal" userId="c61208ed-cfc9-41db-b98e-8ca1e81cbf8a" providerId="ADAL" clId="{D832C272-8512-4C3D-8DDF-489EB9DC1842}" dt="2022-08-16T15:17:29.570" v="2475" actId="478"/>
          <ac:spMkLst>
            <pc:docMk/>
            <pc:sldMk cId="409904691" sldId="340"/>
            <ac:spMk id="20" creationId="{F33094C5-C94C-45FE-BC44-EC03B17C8A0C}"/>
          </ac:spMkLst>
        </pc:spChg>
        <pc:spChg chg="del">
          <ac:chgData name="Daniel Esteban Ortiz Carvajal" userId="c61208ed-cfc9-41db-b98e-8ca1e81cbf8a" providerId="ADAL" clId="{D832C272-8512-4C3D-8DDF-489EB9DC1842}" dt="2022-08-16T15:17:29.570" v="2475" actId="478"/>
          <ac:spMkLst>
            <pc:docMk/>
            <pc:sldMk cId="409904691" sldId="340"/>
            <ac:spMk id="21" creationId="{CE584544-6DB8-4D15-A190-2EED7A8FE26F}"/>
          </ac:spMkLst>
        </pc:spChg>
        <pc:graphicFrameChg chg="add del mod modGraphic">
          <ac:chgData name="Daniel Esteban Ortiz Carvajal" userId="c61208ed-cfc9-41db-b98e-8ca1e81cbf8a" providerId="ADAL" clId="{D832C272-8512-4C3D-8DDF-489EB9DC1842}" dt="2022-08-12T19:29:42.311" v="1529" actId="478"/>
          <ac:graphicFrameMkLst>
            <pc:docMk/>
            <pc:sldMk cId="409904691" sldId="340"/>
            <ac:graphicFrameMk id="5" creationId="{FC019A7B-E654-46EB-B6AF-AD2BD227B357}"/>
          </ac:graphicFrameMkLst>
        </pc:graphicFrameChg>
        <pc:picChg chg="add mod">
          <ac:chgData name="Daniel Esteban Ortiz Carvajal" userId="c61208ed-cfc9-41db-b98e-8ca1e81cbf8a" providerId="ADAL" clId="{D832C272-8512-4C3D-8DDF-489EB9DC1842}" dt="2022-08-16T15:18:53.503" v="2497" actId="1076"/>
          <ac:picMkLst>
            <pc:docMk/>
            <pc:sldMk cId="409904691" sldId="340"/>
            <ac:picMk id="11" creationId="{A1EEB9E4-7210-4EDC-8D4D-46B21C41A03D}"/>
          </ac:picMkLst>
        </pc:picChg>
        <pc:picChg chg="del">
          <ac:chgData name="Daniel Esteban Ortiz Carvajal" userId="c61208ed-cfc9-41db-b98e-8ca1e81cbf8a" providerId="ADAL" clId="{D832C272-8512-4C3D-8DDF-489EB9DC1842}" dt="2022-08-16T15:17:29.570" v="2475" actId="478"/>
          <ac:picMkLst>
            <pc:docMk/>
            <pc:sldMk cId="409904691" sldId="340"/>
            <ac:picMk id="12" creationId="{567EEC18-2A6E-419D-9981-465E4EF70D6C}"/>
          </ac:picMkLst>
        </pc:picChg>
        <pc:picChg chg="del">
          <ac:chgData name="Daniel Esteban Ortiz Carvajal" userId="c61208ed-cfc9-41db-b98e-8ca1e81cbf8a" providerId="ADAL" clId="{D832C272-8512-4C3D-8DDF-489EB9DC1842}" dt="2022-08-16T15:17:29.570" v="2475" actId="478"/>
          <ac:picMkLst>
            <pc:docMk/>
            <pc:sldMk cId="409904691" sldId="340"/>
            <ac:picMk id="14" creationId="{B65299E5-82F1-49EA-B654-55C84AB1C232}"/>
          </ac:picMkLst>
        </pc:picChg>
        <pc:cxnChg chg="del">
          <ac:chgData name="Daniel Esteban Ortiz Carvajal" userId="c61208ed-cfc9-41db-b98e-8ca1e81cbf8a" providerId="ADAL" clId="{D832C272-8512-4C3D-8DDF-489EB9DC1842}" dt="2022-08-16T15:17:29.570" v="2475" actId="478"/>
          <ac:cxnSpMkLst>
            <pc:docMk/>
            <pc:sldMk cId="409904691" sldId="340"/>
            <ac:cxnSpMk id="17" creationId="{0D7ECB11-2804-4EB2-AF54-6824F4C8C98A}"/>
          </ac:cxnSpMkLst>
        </pc:cxnChg>
      </pc:sldChg>
      <pc:sldChg chg="addSp delSp modSp add mod ord">
        <pc:chgData name="Daniel Esteban Ortiz Carvajal" userId="c61208ed-cfc9-41db-b98e-8ca1e81cbf8a" providerId="ADAL" clId="{D832C272-8512-4C3D-8DDF-489EB9DC1842}" dt="2022-08-16T13:37:25.446" v="1979" actId="1037"/>
        <pc:sldMkLst>
          <pc:docMk/>
          <pc:sldMk cId="847029326" sldId="341"/>
        </pc:sldMkLst>
        <pc:spChg chg="mod">
          <ac:chgData name="Daniel Esteban Ortiz Carvajal" userId="c61208ed-cfc9-41db-b98e-8ca1e81cbf8a" providerId="ADAL" clId="{D832C272-8512-4C3D-8DDF-489EB9DC1842}" dt="2022-08-16T13:33:01.580" v="1913" actId="20577"/>
          <ac:spMkLst>
            <pc:docMk/>
            <pc:sldMk cId="847029326" sldId="341"/>
            <ac:spMk id="3" creationId="{9F907A29-1784-4E0C-A8FE-033C7E24E547}"/>
          </ac:spMkLst>
        </pc:spChg>
        <pc:spChg chg="del">
          <ac:chgData name="Daniel Esteban Ortiz Carvajal" userId="c61208ed-cfc9-41db-b98e-8ca1e81cbf8a" providerId="ADAL" clId="{D832C272-8512-4C3D-8DDF-489EB9DC1842}" dt="2022-08-16T13:33:17.870" v="1914" actId="478"/>
          <ac:spMkLst>
            <pc:docMk/>
            <pc:sldMk cId="847029326" sldId="341"/>
            <ac:spMk id="20" creationId="{F33094C5-C94C-45FE-BC44-EC03B17C8A0C}"/>
          </ac:spMkLst>
        </pc:spChg>
        <pc:spChg chg="del mod">
          <ac:chgData name="Daniel Esteban Ortiz Carvajal" userId="c61208ed-cfc9-41db-b98e-8ca1e81cbf8a" providerId="ADAL" clId="{D832C272-8512-4C3D-8DDF-489EB9DC1842}" dt="2022-08-16T13:33:19.456" v="1916" actId="478"/>
          <ac:spMkLst>
            <pc:docMk/>
            <pc:sldMk cId="847029326" sldId="341"/>
            <ac:spMk id="21" creationId="{CE584544-6DB8-4D15-A190-2EED7A8FE26F}"/>
          </ac:spMkLst>
        </pc:spChg>
        <pc:picChg chg="add mod modCrop">
          <ac:chgData name="Daniel Esteban Ortiz Carvajal" userId="c61208ed-cfc9-41db-b98e-8ca1e81cbf8a" providerId="ADAL" clId="{D832C272-8512-4C3D-8DDF-489EB9DC1842}" dt="2022-08-16T13:34:18.566" v="1927" actId="732"/>
          <ac:picMkLst>
            <pc:docMk/>
            <pc:sldMk cId="847029326" sldId="341"/>
            <ac:picMk id="6" creationId="{8A015ED5-6D8C-4A92-A0AD-7710D054DE55}"/>
          </ac:picMkLst>
        </pc:picChg>
        <pc:picChg chg="add mod">
          <ac:chgData name="Daniel Esteban Ortiz Carvajal" userId="c61208ed-cfc9-41db-b98e-8ca1e81cbf8a" providerId="ADAL" clId="{D832C272-8512-4C3D-8DDF-489EB9DC1842}" dt="2022-08-16T13:36:04.621" v="1944" actId="1076"/>
          <ac:picMkLst>
            <pc:docMk/>
            <pc:sldMk cId="847029326" sldId="341"/>
            <ac:picMk id="9" creationId="{696E7CEA-A0EE-420E-BBD4-88ED599FE05B}"/>
          </ac:picMkLst>
        </pc:picChg>
        <pc:picChg chg="del">
          <ac:chgData name="Daniel Esteban Ortiz Carvajal" userId="c61208ed-cfc9-41db-b98e-8ca1e81cbf8a" providerId="ADAL" clId="{D832C272-8512-4C3D-8DDF-489EB9DC1842}" dt="2022-08-12T19:31:58.034" v="1580" actId="478"/>
          <ac:picMkLst>
            <pc:docMk/>
            <pc:sldMk cId="847029326" sldId="341"/>
            <ac:picMk id="12" creationId="{567EEC18-2A6E-419D-9981-465E4EF70D6C}"/>
          </ac:picMkLst>
        </pc:picChg>
        <pc:picChg chg="del">
          <ac:chgData name="Daniel Esteban Ortiz Carvajal" userId="c61208ed-cfc9-41db-b98e-8ca1e81cbf8a" providerId="ADAL" clId="{D832C272-8512-4C3D-8DDF-489EB9DC1842}" dt="2022-08-12T19:31:58.034" v="1580" actId="478"/>
          <ac:picMkLst>
            <pc:docMk/>
            <pc:sldMk cId="847029326" sldId="341"/>
            <ac:picMk id="14" creationId="{B65299E5-82F1-49EA-B654-55C84AB1C232}"/>
          </ac:picMkLst>
        </pc:picChg>
        <pc:cxnChg chg="add mod">
          <ac:chgData name="Daniel Esteban Ortiz Carvajal" userId="c61208ed-cfc9-41db-b98e-8ca1e81cbf8a" providerId="ADAL" clId="{D832C272-8512-4C3D-8DDF-489EB9DC1842}" dt="2022-08-16T13:37:25.446" v="1979" actId="1037"/>
          <ac:cxnSpMkLst>
            <pc:docMk/>
            <pc:sldMk cId="847029326" sldId="341"/>
            <ac:cxnSpMk id="11" creationId="{B58936C0-CA6A-4B21-A5CE-B953E541E336}"/>
          </ac:cxnSpMkLst>
        </pc:cxnChg>
        <pc:cxnChg chg="del">
          <ac:chgData name="Daniel Esteban Ortiz Carvajal" userId="c61208ed-cfc9-41db-b98e-8ca1e81cbf8a" providerId="ADAL" clId="{D832C272-8512-4C3D-8DDF-489EB9DC1842}" dt="2022-08-12T19:31:58.034" v="1580" actId="478"/>
          <ac:cxnSpMkLst>
            <pc:docMk/>
            <pc:sldMk cId="847029326" sldId="341"/>
            <ac:cxnSpMk id="17" creationId="{0D7ECB11-2804-4EB2-AF54-6824F4C8C98A}"/>
          </ac:cxnSpMkLst>
        </pc:cxnChg>
        <pc:cxnChg chg="add mod">
          <ac:chgData name="Daniel Esteban Ortiz Carvajal" userId="c61208ed-cfc9-41db-b98e-8ca1e81cbf8a" providerId="ADAL" clId="{D832C272-8512-4C3D-8DDF-489EB9DC1842}" dt="2022-08-16T13:37:02.739" v="1960" actId="1582"/>
          <ac:cxnSpMkLst>
            <pc:docMk/>
            <pc:sldMk cId="847029326" sldId="341"/>
            <ac:cxnSpMk id="27" creationId="{2FE320B7-A56D-4960-8337-22D63AF17D86}"/>
          </ac:cxnSpMkLst>
        </pc:cxnChg>
      </pc:sldChg>
      <pc:sldChg chg="modSp add mod">
        <pc:chgData name="Daniel Esteban Ortiz Carvajal" userId="c61208ed-cfc9-41db-b98e-8ca1e81cbf8a" providerId="ADAL" clId="{D832C272-8512-4C3D-8DDF-489EB9DC1842}" dt="2022-08-16T15:15:13.842" v="2439" actId="20577"/>
        <pc:sldMkLst>
          <pc:docMk/>
          <pc:sldMk cId="3388931839" sldId="342"/>
        </pc:sldMkLst>
        <pc:spChg chg="mod">
          <ac:chgData name="Daniel Esteban Ortiz Carvajal" userId="c61208ed-cfc9-41db-b98e-8ca1e81cbf8a" providerId="ADAL" clId="{D832C272-8512-4C3D-8DDF-489EB9DC1842}" dt="2022-08-16T15:12:52.172" v="2351" actId="20577"/>
          <ac:spMkLst>
            <pc:docMk/>
            <pc:sldMk cId="3388931839" sldId="342"/>
            <ac:spMk id="2" creationId="{C274B575-B31C-415F-AF62-A305A7D4E415}"/>
          </ac:spMkLst>
        </pc:spChg>
        <pc:spChg chg="mod">
          <ac:chgData name="Daniel Esteban Ortiz Carvajal" userId="c61208ed-cfc9-41db-b98e-8ca1e81cbf8a" providerId="ADAL" clId="{D832C272-8512-4C3D-8DDF-489EB9DC1842}" dt="2022-08-16T15:15:13.842" v="2439" actId="20577"/>
          <ac:spMkLst>
            <pc:docMk/>
            <pc:sldMk cId="3388931839" sldId="342"/>
            <ac:spMk id="3" creationId="{9F907A29-1784-4E0C-A8FE-033C7E24E547}"/>
          </ac:spMkLst>
        </pc:spChg>
      </pc:sldChg>
      <pc:sldChg chg="modSp add del mod">
        <pc:chgData name="Daniel Esteban Ortiz Carvajal" userId="c61208ed-cfc9-41db-b98e-8ca1e81cbf8a" providerId="ADAL" clId="{D832C272-8512-4C3D-8DDF-489EB9DC1842}" dt="2022-08-16T15:15:09.622" v="2437" actId="47"/>
        <pc:sldMkLst>
          <pc:docMk/>
          <pc:sldMk cId="438288243" sldId="343"/>
        </pc:sldMkLst>
        <pc:spChg chg="mod">
          <ac:chgData name="Daniel Esteban Ortiz Carvajal" userId="c61208ed-cfc9-41db-b98e-8ca1e81cbf8a" providerId="ADAL" clId="{D832C272-8512-4C3D-8DDF-489EB9DC1842}" dt="2022-08-16T15:13:04.357" v="2354" actId="20577"/>
          <ac:spMkLst>
            <pc:docMk/>
            <pc:sldMk cId="438288243" sldId="343"/>
            <ac:spMk id="3" creationId="{9F907A29-1784-4E0C-A8FE-033C7E24E547}"/>
          </ac:spMkLst>
        </pc:spChg>
      </pc:sldChg>
      <pc:sldChg chg="addSp delSp modSp add mod">
        <pc:chgData name="Daniel Esteban Ortiz Carvajal" userId="c61208ed-cfc9-41db-b98e-8ca1e81cbf8a" providerId="ADAL" clId="{D832C272-8512-4C3D-8DDF-489EB9DC1842}" dt="2022-08-16T15:18:27.687" v="2494" actId="14100"/>
        <pc:sldMkLst>
          <pc:docMk/>
          <pc:sldMk cId="1544667197" sldId="344"/>
        </pc:sldMkLst>
        <pc:spChg chg="mod">
          <ac:chgData name="Daniel Esteban Ortiz Carvajal" userId="c61208ed-cfc9-41db-b98e-8ca1e81cbf8a" providerId="ADAL" clId="{D832C272-8512-4C3D-8DDF-489EB9DC1842}" dt="2022-08-16T15:17:47.976" v="2482"/>
          <ac:spMkLst>
            <pc:docMk/>
            <pc:sldMk cId="1544667197" sldId="344"/>
            <ac:spMk id="2" creationId="{C274B575-B31C-415F-AF62-A305A7D4E415}"/>
          </ac:spMkLst>
        </pc:spChg>
        <pc:spChg chg="mod">
          <ac:chgData name="Daniel Esteban Ortiz Carvajal" userId="c61208ed-cfc9-41db-b98e-8ca1e81cbf8a" providerId="ADAL" clId="{D832C272-8512-4C3D-8DDF-489EB9DC1842}" dt="2022-08-16T15:17:15.052" v="2474"/>
          <ac:spMkLst>
            <pc:docMk/>
            <pc:sldMk cId="1544667197" sldId="344"/>
            <ac:spMk id="3" creationId="{9F907A29-1784-4E0C-A8FE-033C7E24E547}"/>
          </ac:spMkLst>
        </pc:spChg>
        <pc:spChg chg="del mod">
          <ac:chgData name="Daniel Esteban Ortiz Carvajal" userId="c61208ed-cfc9-41db-b98e-8ca1e81cbf8a" providerId="ADAL" clId="{D832C272-8512-4C3D-8DDF-489EB9DC1842}" dt="2022-08-16T15:15:35.362" v="2454" actId="478"/>
          <ac:spMkLst>
            <pc:docMk/>
            <pc:sldMk cId="1544667197" sldId="344"/>
            <ac:spMk id="7" creationId="{0A875C65-F8AE-41DF-8148-5FCD78A6295A}"/>
          </ac:spMkLst>
        </pc:spChg>
        <pc:spChg chg="del mod">
          <ac:chgData name="Daniel Esteban Ortiz Carvajal" userId="c61208ed-cfc9-41db-b98e-8ca1e81cbf8a" providerId="ADAL" clId="{D832C272-8512-4C3D-8DDF-489EB9DC1842}" dt="2022-08-16T15:15:49.462" v="2459" actId="478"/>
          <ac:spMkLst>
            <pc:docMk/>
            <pc:sldMk cId="1544667197" sldId="344"/>
            <ac:spMk id="20" creationId="{F33094C5-C94C-45FE-BC44-EC03B17C8A0C}"/>
          </ac:spMkLst>
        </pc:spChg>
        <pc:spChg chg="del mod">
          <ac:chgData name="Daniel Esteban Ortiz Carvajal" userId="c61208ed-cfc9-41db-b98e-8ca1e81cbf8a" providerId="ADAL" clId="{D832C272-8512-4C3D-8DDF-489EB9DC1842}" dt="2022-08-16T15:15:48.632" v="2458" actId="478"/>
          <ac:spMkLst>
            <pc:docMk/>
            <pc:sldMk cId="1544667197" sldId="344"/>
            <ac:spMk id="21" creationId="{CE584544-6DB8-4D15-A190-2EED7A8FE26F}"/>
          </ac:spMkLst>
        </pc:spChg>
        <pc:picChg chg="add mod">
          <ac:chgData name="Daniel Esteban Ortiz Carvajal" userId="c61208ed-cfc9-41db-b98e-8ca1e81cbf8a" providerId="ADAL" clId="{D832C272-8512-4C3D-8DDF-489EB9DC1842}" dt="2022-08-16T15:18:27.687" v="2494" actId="14100"/>
          <ac:picMkLst>
            <pc:docMk/>
            <pc:sldMk cId="1544667197" sldId="344"/>
            <ac:picMk id="6" creationId="{AEEC44D6-CF81-4342-BE3C-D7A142CC15C3}"/>
          </ac:picMkLst>
        </pc:picChg>
        <pc:picChg chg="del mod">
          <ac:chgData name="Daniel Esteban Ortiz Carvajal" userId="c61208ed-cfc9-41db-b98e-8ca1e81cbf8a" providerId="ADAL" clId="{D832C272-8512-4C3D-8DDF-489EB9DC1842}" dt="2022-08-16T15:15:46.157" v="2455" actId="478"/>
          <ac:picMkLst>
            <pc:docMk/>
            <pc:sldMk cId="1544667197" sldId="344"/>
            <ac:picMk id="12" creationId="{567EEC18-2A6E-419D-9981-465E4EF70D6C}"/>
          </ac:picMkLst>
        </pc:picChg>
        <pc:picChg chg="del mod">
          <ac:chgData name="Daniel Esteban Ortiz Carvajal" userId="c61208ed-cfc9-41db-b98e-8ca1e81cbf8a" providerId="ADAL" clId="{D832C272-8512-4C3D-8DDF-489EB9DC1842}" dt="2022-08-16T15:15:46.772" v="2456" actId="478"/>
          <ac:picMkLst>
            <pc:docMk/>
            <pc:sldMk cId="1544667197" sldId="344"/>
            <ac:picMk id="14" creationId="{B65299E5-82F1-49EA-B654-55C84AB1C232}"/>
          </ac:picMkLst>
        </pc:picChg>
        <pc:cxnChg chg="del mod">
          <ac:chgData name="Daniel Esteban Ortiz Carvajal" userId="c61208ed-cfc9-41db-b98e-8ca1e81cbf8a" providerId="ADAL" clId="{D832C272-8512-4C3D-8DDF-489EB9DC1842}" dt="2022-08-16T15:15:47.638" v="2457" actId="478"/>
          <ac:cxnSpMkLst>
            <pc:docMk/>
            <pc:sldMk cId="1544667197" sldId="344"/>
            <ac:cxnSpMk id="17" creationId="{0D7ECB11-2804-4EB2-AF54-6824F4C8C98A}"/>
          </ac:cxnSpMkLst>
        </pc:cxnChg>
      </pc:sldChg>
      <pc:sldChg chg="add">
        <pc:chgData name="Daniel Esteban Ortiz Carvajal" userId="c61208ed-cfc9-41db-b98e-8ca1e81cbf8a" providerId="ADAL" clId="{D832C272-8512-4C3D-8DDF-489EB9DC1842}" dt="2022-08-16T15:18:36.133" v="2495"/>
        <pc:sldMkLst>
          <pc:docMk/>
          <pc:sldMk cId="926819527" sldId="345"/>
        </pc:sldMkLst>
      </pc:sldChg>
      <pc:sldChg chg="addSp delSp modSp add mod">
        <pc:chgData name="Daniel Esteban Ortiz Carvajal" userId="c61208ed-cfc9-41db-b98e-8ca1e81cbf8a" providerId="ADAL" clId="{D832C272-8512-4C3D-8DDF-489EB9DC1842}" dt="2022-08-16T15:27:40.362" v="2888" actId="1076"/>
        <pc:sldMkLst>
          <pc:docMk/>
          <pc:sldMk cId="1984635983" sldId="346"/>
        </pc:sldMkLst>
        <pc:spChg chg="mod">
          <ac:chgData name="Daniel Esteban Ortiz Carvajal" userId="c61208ed-cfc9-41db-b98e-8ca1e81cbf8a" providerId="ADAL" clId="{D832C272-8512-4C3D-8DDF-489EB9DC1842}" dt="2022-08-16T15:26:37.852" v="2879" actId="108"/>
          <ac:spMkLst>
            <pc:docMk/>
            <pc:sldMk cId="1984635983" sldId="346"/>
            <ac:spMk id="3" creationId="{9F907A29-1784-4E0C-A8FE-033C7E24E547}"/>
          </ac:spMkLst>
        </pc:spChg>
        <pc:picChg chg="del">
          <ac:chgData name="Daniel Esteban Ortiz Carvajal" userId="c61208ed-cfc9-41db-b98e-8ca1e81cbf8a" providerId="ADAL" clId="{D832C272-8512-4C3D-8DDF-489EB9DC1842}" dt="2022-08-16T15:23:17.091" v="2721" actId="478"/>
          <ac:picMkLst>
            <pc:docMk/>
            <pc:sldMk cId="1984635983" sldId="346"/>
            <ac:picMk id="6" creationId="{AEEC44D6-CF81-4342-BE3C-D7A142CC15C3}"/>
          </ac:picMkLst>
        </pc:picChg>
        <pc:picChg chg="add del mod modCrop">
          <ac:chgData name="Daniel Esteban Ortiz Carvajal" userId="c61208ed-cfc9-41db-b98e-8ca1e81cbf8a" providerId="ADAL" clId="{D832C272-8512-4C3D-8DDF-489EB9DC1842}" dt="2022-08-16T15:25:23.624" v="2841" actId="478"/>
          <ac:picMkLst>
            <pc:docMk/>
            <pc:sldMk cId="1984635983" sldId="346"/>
            <ac:picMk id="7" creationId="{DA58F70B-C578-4712-9EB7-720B6EC47230}"/>
          </ac:picMkLst>
        </pc:picChg>
        <pc:picChg chg="add mod modCrop">
          <ac:chgData name="Daniel Esteban Ortiz Carvajal" userId="c61208ed-cfc9-41db-b98e-8ca1e81cbf8a" providerId="ADAL" clId="{D832C272-8512-4C3D-8DDF-489EB9DC1842}" dt="2022-08-16T15:27:40.362" v="2888" actId="1076"/>
          <ac:picMkLst>
            <pc:docMk/>
            <pc:sldMk cId="1984635983" sldId="346"/>
            <ac:picMk id="9" creationId="{82E33015-F1D7-4B61-B8A5-9218062344E4}"/>
          </ac:picMkLst>
        </pc:picChg>
      </pc:sldChg>
      <pc:sldChg chg="addSp delSp modSp add mod">
        <pc:chgData name="Daniel Esteban Ortiz Carvajal" userId="c61208ed-cfc9-41db-b98e-8ca1e81cbf8a" providerId="ADAL" clId="{D832C272-8512-4C3D-8DDF-489EB9DC1842}" dt="2022-08-16T15:46:31.749" v="3541" actId="1076"/>
        <pc:sldMkLst>
          <pc:docMk/>
          <pc:sldMk cId="734070779" sldId="347"/>
        </pc:sldMkLst>
        <pc:spChg chg="mod">
          <ac:chgData name="Daniel Esteban Ortiz Carvajal" userId="c61208ed-cfc9-41db-b98e-8ca1e81cbf8a" providerId="ADAL" clId="{D832C272-8512-4C3D-8DDF-489EB9DC1842}" dt="2022-08-16T15:44:00.247" v="3380" actId="14100"/>
          <ac:spMkLst>
            <pc:docMk/>
            <pc:sldMk cId="734070779" sldId="347"/>
            <ac:spMk id="3" creationId="{9F907A29-1784-4E0C-A8FE-033C7E24E547}"/>
          </ac:spMkLst>
        </pc:spChg>
        <pc:spChg chg="add mod">
          <ac:chgData name="Daniel Esteban Ortiz Carvajal" userId="c61208ed-cfc9-41db-b98e-8ca1e81cbf8a" providerId="ADAL" clId="{D832C272-8512-4C3D-8DDF-489EB9DC1842}" dt="2022-08-16T15:46:31.749" v="3541" actId="1076"/>
          <ac:spMkLst>
            <pc:docMk/>
            <pc:sldMk cId="734070779" sldId="347"/>
            <ac:spMk id="9" creationId="{2E0A5CE6-C159-4B56-8397-FCBE168BD59F}"/>
          </ac:spMkLst>
        </pc:spChg>
        <pc:picChg chg="add mod">
          <ac:chgData name="Daniel Esteban Ortiz Carvajal" userId="c61208ed-cfc9-41db-b98e-8ca1e81cbf8a" providerId="ADAL" clId="{D832C272-8512-4C3D-8DDF-489EB9DC1842}" dt="2022-08-16T15:45:19.382" v="3390" actId="1076"/>
          <ac:picMkLst>
            <pc:docMk/>
            <pc:sldMk cId="734070779" sldId="347"/>
            <ac:picMk id="6" creationId="{6F48388B-A325-46AB-8B57-D7CB14FD95F3}"/>
          </ac:picMkLst>
        </pc:picChg>
        <pc:picChg chg="del mod">
          <ac:chgData name="Daniel Esteban Ortiz Carvajal" userId="c61208ed-cfc9-41db-b98e-8ca1e81cbf8a" providerId="ADAL" clId="{D832C272-8512-4C3D-8DDF-489EB9DC1842}" dt="2022-08-16T15:44:03.247" v="3381" actId="478"/>
          <ac:picMkLst>
            <pc:docMk/>
            <pc:sldMk cId="734070779" sldId="347"/>
            <ac:picMk id="7" creationId="{DA58F70B-C578-4712-9EB7-720B6EC47230}"/>
          </ac:picMkLst>
        </pc:picChg>
      </pc:sldChg>
      <pc:sldChg chg="new add del">
        <pc:chgData name="Daniel Esteban Ortiz Carvajal" userId="c61208ed-cfc9-41db-b98e-8ca1e81cbf8a" providerId="ADAL" clId="{D832C272-8512-4C3D-8DDF-489EB9DC1842}" dt="2022-08-16T15:23:45.566" v="2732" actId="47"/>
        <pc:sldMkLst>
          <pc:docMk/>
          <pc:sldMk cId="1584522303" sldId="347"/>
        </pc:sldMkLst>
      </pc:sldChg>
      <pc:sldChg chg="addSp delSp modSp add mod">
        <pc:chgData name="Daniel Esteban Ortiz Carvajal" userId="c61208ed-cfc9-41db-b98e-8ca1e81cbf8a" providerId="ADAL" clId="{D832C272-8512-4C3D-8DDF-489EB9DC1842}" dt="2022-08-16T15:54:13.217" v="3926" actId="20577"/>
        <pc:sldMkLst>
          <pc:docMk/>
          <pc:sldMk cId="1896081062" sldId="348"/>
        </pc:sldMkLst>
        <pc:spChg chg="mod">
          <ac:chgData name="Daniel Esteban Ortiz Carvajal" userId="c61208ed-cfc9-41db-b98e-8ca1e81cbf8a" providerId="ADAL" clId="{D832C272-8512-4C3D-8DDF-489EB9DC1842}" dt="2022-08-16T15:50:26.204" v="3723" actId="20577"/>
          <ac:spMkLst>
            <pc:docMk/>
            <pc:sldMk cId="1896081062" sldId="348"/>
            <ac:spMk id="3" creationId="{9F907A29-1784-4E0C-A8FE-033C7E24E547}"/>
          </ac:spMkLst>
        </pc:spChg>
        <pc:spChg chg="del">
          <ac:chgData name="Daniel Esteban Ortiz Carvajal" userId="c61208ed-cfc9-41db-b98e-8ca1e81cbf8a" providerId="ADAL" clId="{D832C272-8512-4C3D-8DDF-489EB9DC1842}" dt="2022-08-16T15:51:05.327" v="3729" actId="478"/>
          <ac:spMkLst>
            <pc:docMk/>
            <pc:sldMk cId="1896081062" sldId="348"/>
            <ac:spMk id="9" creationId="{2E0A5CE6-C159-4B56-8397-FCBE168BD59F}"/>
          </ac:spMkLst>
        </pc:spChg>
        <pc:spChg chg="add mod">
          <ac:chgData name="Daniel Esteban Ortiz Carvajal" userId="c61208ed-cfc9-41db-b98e-8ca1e81cbf8a" providerId="ADAL" clId="{D832C272-8512-4C3D-8DDF-489EB9DC1842}" dt="2022-08-16T15:54:13.217" v="3926" actId="20577"/>
          <ac:spMkLst>
            <pc:docMk/>
            <pc:sldMk cId="1896081062" sldId="348"/>
            <ac:spMk id="13" creationId="{77DDB909-9106-4CA7-AC48-CD1543B0A788}"/>
          </ac:spMkLst>
        </pc:spChg>
        <pc:picChg chg="del mod">
          <ac:chgData name="Daniel Esteban Ortiz Carvajal" userId="c61208ed-cfc9-41db-b98e-8ca1e81cbf8a" providerId="ADAL" clId="{D832C272-8512-4C3D-8DDF-489EB9DC1842}" dt="2022-08-16T15:49:35.565" v="3697" actId="478"/>
          <ac:picMkLst>
            <pc:docMk/>
            <pc:sldMk cId="1896081062" sldId="348"/>
            <ac:picMk id="6" creationId="{6F48388B-A325-46AB-8B57-D7CB14FD95F3}"/>
          </ac:picMkLst>
        </pc:picChg>
        <pc:picChg chg="add mod">
          <ac:chgData name="Daniel Esteban Ortiz Carvajal" userId="c61208ed-cfc9-41db-b98e-8ca1e81cbf8a" providerId="ADAL" clId="{D832C272-8512-4C3D-8DDF-489EB9DC1842}" dt="2022-08-16T15:52:44.691" v="3750" actId="14100"/>
          <ac:picMkLst>
            <pc:docMk/>
            <pc:sldMk cId="1896081062" sldId="348"/>
            <ac:picMk id="7" creationId="{87DDF10E-E214-486A-B72A-A38EE89ADEB2}"/>
          </ac:picMkLst>
        </pc:picChg>
        <pc:picChg chg="add mod modCrop">
          <ac:chgData name="Daniel Esteban Ortiz Carvajal" userId="c61208ed-cfc9-41db-b98e-8ca1e81cbf8a" providerId="ADAL" clId="{D832C272-8512-4C3D-8DDF-489EB9DC1842}" dt="2022-08-16T15:52:48.284" v="3751" actId="1076"/>
          <ac:picMkLst>
            <pc:docMk/>
            <pc:sldMk cId="1896081062" sldId="348"/>
            <ac:picMk id="10" creationId="{0A9805D2-A4BC-4CF3-B5C2-5C21BC3D6A5E}"/>
          </ac:picMkLst>
        </pc:picChg>
        <pc:cxnChg chg="add mod">
          <ac:chgData name="Daniel Esteban Ortiz Carvajal" userId="c61208ed-cfc9-41db-b98e-8ca1e81cbf8a" providerId="ADAL" clId="{D832C272-8512-4C3D-8DDF-489EB9DC1842}" dt="2022-08-16T15:53:14.808" v="3756" actId="1037"/>
          <ac:cxnSpMkLst>
            <pc:docMk/>
            <pc:sldMk cId="1896081062" sldId="348"/>
            <ac:cxnSpMk id="12" creationId="{4509090B-6C95-451E-8A40-3BFB0A956636}"/>
          </ac:cxnSpMkLst>
        </pc:cxnChg>
      </pc:sldChg>
      <pc:sldChg chg="new add del">
        <pc:chgData name="Daniel Esteban Ortiz Carvajal" userId="c61208ed-cfc9-41db-b98e-8ca1e81cbf8a" providerId="ADAL" clId="{D832C272-8512-4C3D-8DDF-489EB9DC1842}" dt="2022-08-16T15:46:36.569" v="3544" actId="47"/>
        <pc:sldMkLst>
          <pc:docMk/>
          <pc:sldMk cId="3641593111" sldId="348"/>
        </pc:sldMkLst>
      </pc:sldChg>
    </pc:docChg>
  </pc:docChgLst>
  <pc:docChgLst>
    <pc:chgData name="Daniel Esteban Ortiz Carvajal" userId="c61208ed-cfc9-41db-b98e-8ca1e81cbf8a" providerId="ADAL" clId="{E2AFD9C4-AE72-41C4-8AED-DB8EA4511095}"/>
    <pc:docChg chg="undo custSel addSld delSld modSld replTag">
      <pc:chgData name="Daniel Esteban Ortiz Carvajal" userId="c61208ed-cfc9-41db-b98e-8ca1e81cbf8a" providerId="ADAL" clId="{E2AFD9C4-AE72-41C4-8AED-DB8EA4511095}" dt="2022-09-01T17:14:11.603" v="2937" actId="20577"/>
      <pc:docMkLst>
        <pc:docMk/>
      </pc:docMkLst>
      <pc:sldChg chg="modSp mod">
        <pc:chgData name="Daniel Esteban Ortiz Carvajal" userId="c61208ed-cfc9-41db-b98e-8ca1e81cbf8a" providerId="ADAL" clId="{E2AFD9C4-AE72-41C4-8AED-DB8EA4511095}" dt="2022-09-01T14:00:50.160" v="38" actId="20577"/>
        <pc:sldMkLst>
          <pc:docMk/>
          <pc:sldMk cId="3851816687" sldId="303"/>
        </pc:sldMkLst>
        <pc:spChg chg="mod">
          <ac:chgData name="Daniel Esteban Ortiz Carvajal" userId="c61208ed-cfc9-41db-b98e-8ca1e81cbf8a" providerId="ADAL" clId="{E2AFD9C4-AE72-41C4-8AED-DB8EA4511095}" dt="2022-09-01T14:00:39.607" v="32" actId="20577"/>
          <ac:spMkLst>
            <pc:docMk/>
            <pc:sldMk cId="3851816687" sldId="303"/>
            <ac:spMk id="10" creationId="{0975EA33-F044-4B64-887E-720C7E5ABEDA}"/>
          </ac:spMkLst>
        </pc:spChg>
        <pc:spChg chg="mod">
          <ac:chgData name="Daniel Esteban Ortiz Carvajal" userId="c61208ed-cfc9-41db-b98e-8ca1e81cbf8a" providerId="ADAL" clId="{E2AFD9C4-AE72-41C4-8AED-DB8EA4511095}" dt="2022-09-01T14:00:50.160" v="38" actId="20577"/>
          <ac:spMkLst>
            <pc:docMk/>
            <pc:sldMk cId="3851816687" sldId="303"/>
            <ac:spMk id="14" creationId="{BD3EA365-FDD1-4837-A7F1-9054D1536B32}"/>
          </ac:spMkLst>
        </pc:spChg>
      </pc:sldChg>
      <pc:sldChg chg="modSp mod">
        <pc:chgData name="Daniel Esteban Ortiz Carvajal" userId="c61208ed-cfc9-41db-b98e-8ca1e81cbf8a" providerId="ADAL" clId="{E2AFD9C4-AE72-41C4-8AED-DB8EA4511095}" dt="2022-09-01T14:02:48.202" v="89" actId="20577"/>
        <pc:sldMkLst>
          <pc:docMk/>
          <pc:sldMk cId="3585969165" sldId="305"/>
        </pc:sldMkLst>
        <pc:spChg chg="mod">
          <ac:chgData name="Daniel Esteban Ortiz Carvajal" userId="c61208ed-cfc9-41db-b98e-8ca1e81cbf8a" providerId="ADAL" clId="{E2AFD9C4-AE72-41C4-8AED-DB8EA4511095}" dt="2022-09-01T14:02:48.202" v="89" actId="20577"/>
          <ac:spMkLst>
            <pc:docMk/>
            <pc:sldMk cId="3585969165" sldId="305"/>
            <ac:spMk id="11" creationId="{26517BED-F2B2-4B7E-B542-C98D2F766B72}"/>
          </ac:spMkLst>
        </pc:spChg>
      </pc:sldChg>
      <pc:sldChg chg="addSp delSp modSp mod">
        <pc:chgData name="Daniel Esteban Ortiz Carvajal" userId="c61208ed-cfc9-41db-b98e-8ca1e81cbf8a" providerId="ADAL" clId="{E2AFD9C4-AE72-41C4-8AED-DB8EA4511095}" dt="2022-09-01T14:17:43.538" v="564" actId="14100"/>
        <pc:sldMkLst>
          <pc:docMk/>
          <pc:sldMk cId="3651812480" sldId="329"/>
        </pc:sldMkLst>
        <pc:spChg chg="mod ord">
          <ac:chgData name="Daniel Esteban Ortiz Carvajal" userId="c61208ed-cfc9-41db-b98e-8ca1e81cbf8a" providerId="ADAL" clId="{E2AFD9C4-AE72-41C4-8AED-DB8EA4511095}" dt="2022-09-01T14:08:49.005" v="333"/>
          <ac:spMkLst>
            <pc:docMk/>
            <pc:sldMk cId="3651812480" sldId="329"/>
            <ac:spMk id="2" creationId="{C274B575-B31C-415F-AF62-A305A7D4E415}"/>
          </ac:spMkLst>
        </pc:spChg>
        <pc:spChg chg="mod ord">
          <ac:chgData name="Daniel Esteban Ortiz Carvajal" userId="c61208ed-cfc9-41db-b98e-8ca1e81cbf8a" providerId="ADAL" clId="{E2AFD9C4-AE72-41C4-8AED-DB8EA4511095}" dt="2022-09-01T14:13:26.173" v="358" actId="20577"/>
          <ac:spMkLst>
            <pc:docMk/>
            <pc:sldMk cId="3651812480" sldId="329"/>
            <ac:spMk id="3" creationId="{9F907A29-1784-4E0C-A8FE-033C7E24E547}"/>
          </ac:spMkLst>
        </pc:spChg>
        <pc:spChg chg="mod ord">
          <ac:chgData name="Daniel Esteban Ortiz Carvajal" userId="c61208ed-cfc9-41db-b98e-8ca1e81cbf8a" providerId="ADAL" clId="{E2AFD9C4-AE72-41C4-8AED-DB8EA4511095}" dt="2022-09-01T14:13:33.465" v="361" actId="1076"/>
          <ac:spMkLst>
            <pc:docMk/>
            <pc:sldMk cId="3651812480" sldId="329"/>
            <ac:spMk id="11" creationId="{C3817D5B-1AF9-4157-83E9-F32F433F749A}"/>
          </ac:spMkLst>
        </pc:spChg>
        <pc:spChg chg="add mod">
          <ac:chgData name="Daniel Esteban Ortiz Carvajal" userId="c61208ed-cfc9-41db-b98e-8ca1e81cbf8a" providerId="ADAL" clId="{E2AFD9C4-AE72-41C4-8AED-DB8EA4511095}" dt="2022-09-01T14:17:31.623" v="559" actId="14100"/>
          <ac:spMkLst>
            <pc:docMk/>
            <pc:sldMk cId="3651812480" sldId="329"/>
            <ac:spMk id="12" creationId="{E4788CB1-4E24-4C03-BEDF-7235D643ADB6}"/>
          </ac:spMkLst>
        </pc:spChg>
        <pc:spChg chg="add mod">
          <ac:chgData name="Daniel Esteban Ortiz Carvajal" userId="c61208ed-cfc9-41db-b98e-8ca1e81cbf8a" providerId="ADAL" clId="{E2AFD9C4-AE72-41C4-8AED-DB8EA4511095}" dt="2022-09-01T14:17:43.538" v="564" actId="14100"/>
          <ac:spMkLst>
            <pc:docMk/>
            <pc:sldMk cId="3651812480" sldId="329"/>
            <ac:spMk id="13" creationId="{1797B81D-F96F-4B50-A0D6-1490A595FAF0}"/>
          </ac:spMkLst>
        </pc:spChg>
        <pc:spChg chg="mod ord">
          <ac:chgData name="Daniel Esteban Ortiz Carvajal" userId="c61208ed-cfc9-41db-b98e-8ca1e81cbf8a" providerId="ADAL" clId="{E2AFD9C4-AE72-41C4-8AED-DB8EA4511095}" dt="2022-09-01T14:16:14.953" v="543" actId="1076"/>
          <ac:spMkLst>
            <pc:docMk/>
            <pc:sldMk cId="3651812480" sldId="329"/>
            <ac:spMk id="15" creationId="{CE24284A-B6C5-4B7D-B962-43794F8876BE}"/>
          </ac:spMkLst>
        </pc:spChg>
        <pc:graphicFrameChg chg="mod">
          <ac:chgData name="Daniel Esteban Ortiz Carvajal" userId="c61208ed-cfc9-41db-b98e-8ca1e81cbf8a" providerId="ADAL" clId="{E2AFD9C4-AE72-41C4-8AED-DB8EA4511095}" dt="2022-09-01T14:08:49.016" v="345"/>
          <ac:graphicFrameMkLst>
            <pc:docMk/>
            <pc:sldMk cId="3651812480" sldId="329"/>
            <ac:graphicFrameMk id="4" creationId="{C9C26DB0-4F48-4A60-A028-DB70D851EF57}"/>
          </ac:graphicFrameMkLst>
        </pc:graphicFrameChg>
        <pc:picChg chg="del">
          <ac:chgData name="Daniel Esteban Ortiz Carvajal" userId="c61208ed-cfc9-41db-b98e-8ca1e81cbf8a" providerId="ADAL" clId="{E2AFD9C4-AE72-41C4-8AED-DB8EA4511095}" dt="2022-09-01T14:07:49.835" v="309" actId="478"/>
          <ac:picMkLst>
            <pc:docMk/>
            <pc:sldMk cId="3651812480" sldId="329"/>
            <ac:picMk id="6" creationId="{9C1AD289-F0A5-4095-8677-737A580783C9}"/>
          </ac:picMkLst>
        </pc:picChg>
        <pc:picChg chg="add mod">
          <ac:chgData name="Daniel Esteban Ortiz Carvajal" userId="c61208ed-cfc9-41db-b98e-8ca1e81cbf8a" providerId="ADAL" clId="{E2AFD9C4-AE72-41C4-8AED-DB8EA4511095}" dt="2022-09-01T14:17:17.319" v="552" actId="14100"/>
          <ac:picMkLst>
            <pc:docMk/>
            <pc:sldMk cId="3651812480" sldId="329"/>
            <ac:picMk id="7" creationId="{BBE4820E-A006-423D-9FAA-3968F06A7CB2}"/>
          </ac:picMkLst>
        </pc:picChg>
        <pc:picChg chg="del mod ord">
          <ac:chgData name="Daniel Esteban Ortiz Carvajal" userId="c61208ed-cfc9-41db-b98e-8ca1e81cbf8a" providerId="ADAL" clId="{E2AFD9C4-AE72-41C4-8AED-DB8EA4511095}" dt="2022-09-01T14:15:52.849" v="514" actId="478"/>
          <ac:picMkLst>
            <pc:docMk/>
            <pc:sldMk cId="3651812480" sldId="329"/>
            <ac:picMk id="9" creationId="{DE3F86A2-227E-4973-9BC6-548E8C61879D}"/>
          </ac:picMkLst>
        </pc:picChg>
        <pc:picChg chg="add mod">
          <ac:chgData name="Daniel Esteban Ortiz Carvajal" userId="c61208ed-cfc9-41db-b98e-8ca1e81cbf8a" providerId="ADAL" clId="{E2AFD9C4-AE72-41C4-8AED-DB8EA4511095}" dt="2022-09-01T14:13:29.070" v="359" actId="14100"/>
          <ac:picMkLst>
            <pc:docMk/>
            <pc:sldMk cId="3651812480" sldId="329"/>
            <ac:picMk id="1026" creationId="{D2F81808-1A19-43DA-AF28-DB8880387AD0}"/>
          </ac:picMkLst>
        </pc:picChg>
      </pc:sldChg>
      <pc:sldChg chg="addSp delSp modSp mod">
        <pc:chgData name="Daniel Esteban Ortiz Carvajal" userId="c61208ed-cfc9-41db-b98e-8ca1e81cbf8a" providerId="ADAL" clId="{E2AFD9C4-AE72-41C4-8AED-DB8EA4511095}" dt="2022-09-01T14:24:19.670" v="837" actId="1076"/>
        <pc:sldMkLst>
          <pc:docMk/>
          <pc:sldMk cId="2641930197" sldId="330"/>
        </pc:sldMkLst>
        <pc:spChg chg="mod">
          <ac:chgData name="Daniel Esteban Ortiz Carvajal" userId="c61208ed-cfc9-41db-b98e-8ca1e81cbf8a" providerId="ADAL" clId="{E2AFD9C4-AE72-41C4-8AED-DB8EA4511095}" dt="2022-09-01T14:20:51.156" v="605" actId="1035"/>
          <ac:spMkLst>
            <pc:docMk/>
            <pc:sldMk cId="2641930197" sldId="330"/>
            <ac:spMk id="2" creationId="{C274B575-B31C-415F-AF62-A305A7D4E415}"/>
          </ac:spMkLst>
        </pc:spChg>
        <pc:spChg chg="mod">
          <ac:chgData name="Daniel Esteban Ortiz Carvajal" userId="c61208ed-cfc9-41db-b98e-8ca1e81cbf8a" providerId="ADAL" clId="{E2AFD9C4-AE72-41C4-8AED-DB8EA4511095}" dt="2022-09-01T14:22:24.335" v="650" actId="14100"/>
          <ac:spMkLst>
            <pc:docMk/>
            <pc:sldMk cId="2641930197" sldId="330"/>
            <ac:spMk id="3" creationId="{9F907A29-1784-4E0C-A8FE-033C7E24E547}"/>
          </ac:spMkLst>
        </pc:spChg>
        <pc:spChg chg="add mod">
          <ac:chgData name="Daniel Esteban Ortiz Carvajal" userId="c61208ed-cfc9-41db-b98e-8ca1e81cbf8a" providerId="ADAL" clId="{E2AFD9C4-AE72-41C4-8AED-DB8EA4511095}" dt="2022-09-01T14:22:42.745" v="656" actId="1076"/>
          <ac:spMkLst>
            <pc:docMk/>
            <pc:sldMk cId="2641930197" sldId="330"/>
            <ac:spMk id="10" creationId="{22646D52-CF93-4B5E-97E0-CFE1A1BDEFF0}"/>
          </ac:spMkLst>
        </pc:spChg>
        <pc:spChg chg="mod">
          <ac:chgData name="Daniel Esteban Ortiz Carvajal" userId="c61208ed-cfc9-41db-b98e-8ca1e81cbf8a" providerId="ADAL" clId="{E2AFD9C4-AE72-41C4-8AED-DB8EA4511095}" dt="2022-09-01T14:22:37.338" v="654" actId="14100"/>
          <ac:spMkLst>
            <pc:docMk/>
            <pc:sldMk cId="2641930197" sldId="330"/>
            <ac:spMk id="12" creationId="{1CBA2BFC-C384-4131-A78D-69F5971FE4C4}"/>
          </ac:spMkLst>
        </pc:spChg>
        <pc:spChg chg="add mod">
          <ac:chgData name="Daniel Esteban Ortiz Carvajal" userId="c61208ed-cfc9-41db-b98e-8ca1e81cbf8a" providerId="ADAL" clId="{E2AFD9C4-AE72-41C4-8AED-DB8EA4511095}" dt="2022-09-01T14:24:19.670" v="837" actId="1076"/>
          <ac:spMkLst>
            <pc:docMk/>
            <pc:sldMk cId="2641930197" sldId="330"/>
            <ac:spMk id="14" creationId="{BE64238A-2901-434A-B671-74A74FD894AF}"/>
          </ac:spMkLst>
        </pc:spChg>
        <pc:picChg chg="add mod">
          <ac:chgData name="Daniel Esteban Ortiz Carvajal" userId="c61208ed-cfc9-41db-b98e-8ca1e81cbf8a" providerId="ADAL" clId="{E2AFD9C4-AE72-41C4-8AED-DB8EA4511095}" dt="2022-09-01T14:22:32.133" v="652" actId="1076"/>
          <ac:picMkLst>
            <pc:docMk/>
            <pc:sldMk cId="2641930197" sldId="330"/>
            <ac:picMk id="6" creationId="{E05C968A-0A3E-417E-AEAE-E1BCFCA557E7}"/>
          </ac:picMkLst>
        </pc:picChg>
        <pc:picChg chg="del">
          <ac:chgData name="Daniel Esteban Ortiz Carvajal" userId="c61208ed-cfc9-41db-b98e-8ca1e81cbf8a" providerId="ADAL" clId="{E2AFD9C4-AE72-41C4-8AED-DB8EA4511095}" dt="2022-09-01T14:18:50.875" v="578" actId="478"/>
          <ac:picMkLst>
            <pc:docMk/>
            <pc:sldMk cId="2641930197" sldId="330"/>
            <ac:picMk id="8" creationId="{DFA46584-4C0F-4B49-A951-8F2B5286DC52}"/>
          </ac:picMkLst>
        </pc:picChg>
        <pc:picChg chg="add mod">
          <ac:chgData name="Daniel Esteban Ortiz Carvajal" userId="c61208ed-cfc9-41db-b98e-8ca1e81cbf8a" providerId="ADAL" clId="{E2AFD9C4-AE72-41C4-8AED-DB8EA4511095}" dt="2022-09-01T14:24:08.064" v="836" actId="108"/>
          <ac:picMkLst>
            <pc:docMk/>
            <pc:sldMk cId="2641930197" sldId="330"/>
            <ac:picMk id="9" creationId="{AB72E81C-B5D3-46D5-907A-639CBC44BDD0}"/>
          </ac:picMkLst>
        </pc:picChg>
        <pc:picChg chg="del mod">
          <ac:chgData name="Daniel Esteban Ortiz Carvajal" userId="c61208ed-cfc9-41db-b98e-8ca1e81cbf8a" providerId="ADAL" clId="{E2AFD9C4-AE72-41C4-8AED-DB8EA4511095}" dt="2022-09-01T14:22:11.100" v="646" actId="478"/>
          <ac:picMkLst>
            <pc:docMk/>
            <pc:sldMk cId="2641930197" sldId="330"/>
            <ac:picMk id="13" creationId="{680ACB57-D02A-48B8-8463-CD527733FA3A}"/>
          </ac:picMkLst>
        </pc:picChg>
      </pc:sldChg>
      <pc:sldChg chg="addSp delSp modSp mod">
        <pc:chgData name="Daniel Esteban Ortiz Carvajal" userId="c61208ed-cfc9-41db-b98e-8ca1e81cbf8a" providerId="ADAL" clId="{E2AFD9C4-AE72-41C4-8AED-DB8EA4511095}" dt="2022-09-01T16:41:28.129" v="1460" actId="313"/>
        <pc:sldMkLst>
          <pc:docMk/>
          <pc:sldMk cId="2701873555" sldId="333"/>
        </pc:sldMkLst>
        <pc:spChg chg="mod">
          <ac:chgData name="Daniel Esteban Ortiz Carvajal" userId="c61208ed-cfc9-41db-b98e-8ca1e81cbf8a" providerId="ADAL" clId="{E2AFD9C4-AE72-41C4-8AED-DB8EA4511095}" dt="2022-09-01T14:24:54.516" v="838"/>
          <ac:spMkLst>
            <pc:docMk/>
            <pc:sldMk cId="2701873555" sldId="333"/>
            <ac:spMk id="2" creationId="{C274B575-B31C-415F-AF62-A305A7D4E415}"/>
          </ac:spMkLst>
        </pc:spChg>
        <pc:spChg chg="mod">
          <ac:chgData name="Daniel Esteban Ortiz Carvajal" userId="c61208ed-cfc9-41db-b98e-8ca1e81cbf8a" providerId="ADAL" clId="{E2AFD9C4-AE72-41C4-8AED-DB8EA4511095}" dt="2022-09-01T14:48:27.834" v="1290" actId="20577"/>
          <ac:spMkLst>
            <pc:docMk/>
            <pc:sldMk cId="2701873555" sldId="333"/>
            <ac:spMk id="3" creationId="{9F907A29-1784-4E0C-A8FE-033C7E24E547}"/>
          </ac:spMkLst>
        </pc:spChg>
        <pc:spChg chg="add mod">
          <ac:chgData name="Daniel Esteban Ortiz Carvajal" userId="c61208ed-cfc9-41db-b98e-8ca1e81cbf8a" providerId="ADAL" clId="{E2AFD9C4-AE72-41C4-8AED-DB8EA4511095}" dt="2022-09-01T16:41:28.129" v="1460" actId="313"/>
          <ac:spMkLst>
            <pc:docMk/>
            <pc:sldMk cId="2701873555" sldId="333"/>
            <ac:spMk id="10" creationId="{59AD6ED3-311C-444F-92E2-FDEEA217015A}"/>
          </ac:spMkLst>
        </pc:spChg>
        <pc:spChg chg="del mod">
          <ac:chgData name="Daniel Esteban Ortiz Carvajal" userId="c61208ed-cfc9-41db-b98e-8ca1e81cbf8a" providerId="ADAL" clId="{E2AFD9C4-AE72-41C4-8AED-DB8EA4511095}" dt="2022-09-01T14:28:35.607" v="948" actId="478"/>
          <ac:spMkLst>
            <pc:docMk/>
            <pc:sldMk cId="2701873555" sldId="333"/>
            <ac:spMk id="11" creationId="{C3817D5B-1AF9-4157-83E9-F32F433F749A}"/>
          </ac:spMkLst>
        </pc:spChg>
        <pc:spChg chg="del mod">
          <ac:chgData name="Daniel Esteban Ortiz Carvajal" userId="c61208ed-cfc9-41db-b98e-8ca1e81cbf8a" providerId="ADAL" clId="{E2AFD9C4-AE72-41C4-8AED-DB8EA4511095}" dt="2022-09-01T14:25:00.006" v="840" actId="478"/>
          <ac:spMkLst>
            <pc:docMk/>
            <pc:sldMk cId="2701873555" sldId="333"/>
            <ac:spMk id="15" creationId="{CE24284A-B6C5-4B7D-B962-43794F8876BE}"/>
          </ac:spMkLst>
        </pc:spChg>
        <pc:spChg chg="add mod">
          <ac:chgData name="Daniel Esteban Ortiz Carvajal" userId="c61208ed-cfc9-41db-b98e-8ca1e81cbf8a" providerId="ADAL" clId="{E2AFD9C4-AE72-41C4-8AED-DB8EA4511095}" dt="2022-09-01T14:59:17.741" v="1456" actId="1076"/>
          <ac:spMkLst>
            <pc:docMk/>
            <pc:sldMk cId="2701873555" sldId="333"/>
            <ac:spMk id="16" creationId="{0C5C5694-F57B-498B-8878-4F2895EA517A}"/>
          </ac:spMkLst>
        </pc:spChg>
        <pc:picChg chg="add del mod">
          <ac:chgData name="Daniel Esteban Ortiz Carvajal" userId="c61208ed-cfc9-41db-b98e-8ca1e81cbf8a" providerId="ADAL" clId="{E2AFD9C4-AE72-41C4-8AED-DB8EA4511095}" dt="2022-09-01T14:49:04.438" v="1352" actId="478"/>
          <ac:picMkLst>
            <pc:docMk/>
            <pc:sldMk cId="2701873555" sldId="333"/>
            <ac:picMk id="6" creationId="{6CD8FD74-472D-4424-B725-4F673543C2FF}"/>
          </ac:picMkLst>
        </pc:picChg>
        <pc:picChg chg="del mod">
          <ac:chgData name="Daniel Esteban Ortiz Carvajal" userId="c61208ed-cfc9-41db-b98e-8ca1e81cbf8a" providerId="ADAL" clId="{E2AFD9C4-AE72-41C4-8AED-DB8EA4511095}" dt="2022-09-01T14:31:48.536" v="1144" actId="478"/>
          <ac:picMkLst>
            <pc:docMk/>
            <pc:sldMk cId="2701873555" sldId="333"/>
            <ac:picMk id="8" creationId="{3683F089-D730-4C4D-9CB9-C9B56A630564}"/>
          </ac:picMkLst>
        </pc:picChg>
        <pc:picChg chg="add mod">
          <ac:chgData name="Daniel Esteban Ortiz Carvajal" userId="c61208ed-cfc9-41db-b98e-8ca1e81cbf8a" providerId="ADAL" clId="{E2AFD9C4-AE72-41C4-8AED-DB8EA4511095}" dt="2022-09-01T14:49:35.829" v="1359" actId="1076"/>
          <ac:picMkLst>
            <pc:docMk/>
            <pc:sldMk cId="2701873555" sldId="333"/>
            <ac:picMk id="9" creationId="{8CFEA338-324E-4F41-A1D5-A0118563154A}"/>
          </ac:picMkLst>
        </pc:picChg>
        <pc:picChg chg="add mod">
          <ac:chgData name="Daniel Esteban Ortiz Carvajal" userId="c61208ed-cfc9-41db-b98e-8ca1e81cbf8a" providerId="ADAL" clId="{E2AFD9C4-AE72-41C4-8AED-DB8EA4511095}" dt="2022-09-01T14:59:04.436" v="1454" actId="14100"/>
          <ac:picMkLst>
            <pc:docMk/>
            <pc:sldMk cId="2701873555" sldId="333"/>
            <ac:picMk id="13" creationId="{CD37F635-2B75-49E0-AD90-DBC93C2F7BE9}"/>
          </ac:picMkLst>
        </pc:picChg>
      </pc:sldChg>
      <pc:sldChg chg="del">
        <pc:chgData name="Daniel Esteban Ortiz Carvajal" userId="c61208ed-cfc9-41db-b98e-8ca1e81cbf8a" providerId="ADAL" clId="{E2AFD9C4-AE72-41C4-8AED-DB8EA4511095}" dt="2022-09-01T16:41:46.676" v="1462" actId="47"/>
        <pc:sldMkLst>
          <pc:docMk/>
          <pc:sldMk cId="1277006554" sldId="335"/>
        </pc:sldMkLst>
      </pc:sldChg>
      <pc:sldChg chg="del">
        <pc:chgData name="Daniel Esteban Ortiz Carvajal" userId="c61208ed-cfc9-41db-b98e-8ca1e81cbf8a" providerId="ADAL" clId="{E2AFD9C4-AE72-41C4-8AED-DB8EA4511095}" dt="2022-09-01T16:41:46.676" v="1462" actId="47"/>
        <pc:sldMkLst>
          <pc:docMk/>
          <pc:sldMk cId="2951470416" sldId="336"/>
        </pc:sldMkLst>
      </pc:sldChg>
      <pc:sldChg chg="del">
        <pc:chgData name="Daniel Esteban Ortiz Carvajal" userId="c61208ed-cfc9-41db-b98e-8ca1e81cbf8a" providerId="ADAL" clId="{E2AFD9C4-AE72-41C4-8AED-DB8EA4511095}" dt="2022-09-01T16:41:46.676" v="1462" actId="47"/>
        <pc:sldMkLst>
          <pc:docMk/>
          <pc:sldMk cId="1477848757" sldId="337"/>
        </pc:sldMkLst>
      </pc:sldChg>
      <pc:sldChg chg="del">
        <pc:chgData name="Daniel Esteban Ortiz Carvajal" userId="c61208ed-cfc9-41db-b98e-8ca1e81cbf8a" providerId="ADAL" clId="{E2AFD9C4-AE72-41C4-8AED-DB8EA4511095}" dt="2022-09-01T16:41:46.676" v="1462" actId="47"/>
        <pc:sldMkLst>
          <pc:docMk/>
          <pc:sldMk cId="1632224810" sldId="339"/>
        </pc:sldMkLst>
      </pc:sldChg>
      <pc:sldChg chg="del">
        <pc:chgData name="Daniel Esteban Ortiz Carvajal" userId="c61208ed-cfc9-41db-b98e-8ca1e81cbf8a" providerId="ADAL" clId="{E2AFD9C4-AE72-41C4-8AED-DB8EA4511095}" dt="2022-09-01T16:41:46.676" v="1462" actId="47"/>
        <pc:sldMkLst>
          <pc:docMk/>
          <pc:sldMk cId="409904691" sldId="340"/>
        </pc:sldMkLst>
      </pc:sldChg>
      <pc:sldChg chg="del">
        <pc:chgData name="Daniel Esteban Ortiz Carvajal" userId="c61208ed-cfc9-41db-b98e-8ca1e81cbf8a" providerId="ADAL" clId="{E2AFD9C4-AE72-41C4-8AED-DB8EA4511095}" dt="2022-09-01T16:41:46.676" v="1462" actId="47"/>
        <pc:sldMkLst>
          <pc:docMk/>
          <pc:sldMk cId="847029326" sldId="341"/>
        </pc:sldMkLst>
      </pc:sldChg>
      <pc:sldChg chg="del">
        <pc:chgData name="Daniel Esteban Ortiz Carvajal" userId="c61208ed-cfc9-41db-b98e-8ca1e81cbf8a" providerId="ADAL" clId="{E2AFD9C4-AE72-41C4-8AED-DB8EA4511095}" dt="2022-09-01T16:41:46.676" v="1462" actId="47"/>
        <pc:sldMkLst>
          <pc:docMk/>
          <pc:sldMk cId="3388931839" sldId="342"/>
        </pc:sldMkLst>
      </pc:sldChg>
      <pc:sldChg chg="del">
        <pc:chgData name="Daniel Esteban Ortiz Carvajal" userId="c61208ed-cfc9-41db-b98e-8ca1e81cbf8a" providerId="ADAL" clId="{E2AFD9C4-AE72-41C4-8AED-DB8EA4511095}" dt="2022-09-01T16:41:46.676" v="1462" actId="47"/>
        <pc:sldMkLst>
          <pc:docMk/>
          <pc:sldMk cId="1544667197" sldId="344"/>
        </pc:sldMkLst>
      </pc:sldChg>
      <pc:sldChg chg="del">
        <pc:chgData name="Daniel Esteban Ortiz Carvajal" userId="c61208ed-cfc9-41db-b98e-8ca1e81cbf8a" providerId="ADAL" clId="{E2AFD9C4-AE72-41C4-8AED-DB8EA4511095}" dt="2022-09-01T16:41:46.676" v="1462" actId="47"/>
        <pc:sldMkLst>
          <pc:docMk/>
          <pc:sldMk cId="926819527" sldId="345"/>
        </pc:sldMkLst>
      </pc:sldChg>
      <pc:sldChg chg="del">
        <pc:chgData name="Daniel Esteban Ortiz Carvajal" userId="c61208ed-cfc9-41db-b98e-8ca1e81cbf8a" providerId="ADAL" clId="{E2AFD9C4-AE72-41C4-8AED-DB8EA4511095}" dt="2022-09-01T16:41:46.676" v="1462" actId="47"/>
        <pc:sldMkLst>
          <pc:docMk/>
          <pc:sldMk cId="1984635983" sldId="346"/>
        </pc:sldMkLst>
      </pc:sldChg>
      <pc:sldChg chg="del">
        <pc:chgData name="Daniel Esteban Ortiz Carvajal" userId="c61208ed-cfc9-41db-b98e-8ca1e81cbf8a" providerId="ADAL" clId="{E2AFD9C4-AE72-41C4-8AED-DB8EA4511095}" dt="2022-09-01T16:41:46.676" v="1462" actId="47"/>
        <pc:sldMkLst>
          <pc:docMk/>
          <pc:sldMk cId="734070779" sldId="347"/>
        </pc:sldMkLst>
      </pc:sldChg>
      <pc:sldChg chg="del">
        <pc:chgData name="Daniel Esteban Ortiz Carvajal" userId="c61208ed-cfc9-41db-b98e-8ca1e81cbf8a" providerId="ADAL" clId="{E2AFD9C4-AE72-41C4-8AED-DB8EA4511095}" dt="2022-09-01T16:41:46.676" v="1462" actId="47"/>
        <pc:sldMkLst>
          <pc:docMk/>
          <pc:sldMk cId="1896081062" sldId="348"/>
        </pc:sldMkLst>
      </pc:sldChg>
      <pc:sldChg chg="modSp add mod">
        <pc:chgData name="Daniel Esteban Ortiz Carvajal" userId="c61208ed-cfc9-41db-b98e-8ca1e81cbf8a" providerId="ADAL" clId="{E2AFD9C4-AE72-41C4-8AED-DB8EA4511095}" dt="2022-09-01T17:00:47.722" v="2202" actId="20577"/>
        <pc:sldMkLst>
          <pc:docMk/>
          <pc:sldMk cId="2795144421" sldId="349"/>
        </pc:sldMkLst>
        <pc:spChg chg="mod">
          <ac:chgData name="Daniel Esteban Ortiz Carvajal" userId="c61208ed-cfc9-41db-b98e-8ca1e81cbf8a" providerId="ADAL" clId="{E2AFD9C4-AE72-41C4-8AED-DB8EA4511095}" dt="2022-09-01T16:45:03.659" v="1478" actId="20577"/>
          <ac:spMkLst>
            <pc:docMk/>
            <pc:sldMk cId="2795144421" sldId="349"/>
            <ac:spMk id="2" creationId="{C274B575-B31C-415F-AF62-A305A7D4E415}"/>
          </ac:spMkLst>
        </pc:spChg>
        <pc:spChg chg="mod">
          <ac:chgData name="Daniel Esteban Ortiz Carvajal" userId="c61208ed-cfc9-41db-b98e-8ca1e81cbf8a" providerId="ADAL" clId="{E2AFD9C4-AE72-41C4-8AED-DB8EA4511095}" dt="2022-09-01T17:00:44.051" v="2200" actId="20577"/>
          <ac:spMkLst>
            <pc:docMk/>
            <pc:sldMk cId="2795144421" sldId="349"/>
            <ac:spMk id="3" creationId="{9F907A29-1784-4E0C-A8FE-033C7E24E547}"/>
          </ac:spMkLst>
        </pc:spChg>
        <pc:spChg chg="mod">
          <ac:chgData name="Daniel Esteban Ortiz Carvajal" userId="c61208ed-cfc9-41db-b98e-8ca1e81cbf8a" providerId="ADAL" clId="{E2AFD9C4-AE72-41C4-8AED-DB8EA4511095}" dt="2022-09-01T16:45:09.582" v="1486" actId="1037"/>
          <ac:spMkLst>
            <pc:docMk/>
            <pc:sldMk cId="2795144421" sldId="349"/>
            <ac:spMk id="11" creationId="{C3817D5B-1AF9-4157-83E9-F32F433F749A}"/>
          </ac:spMkLst>
        </pc:spChg>
        <pc:spChg chg="mod">
          <ac:chgData name="Daniel Esteban Ortiz Carvajal" userId="c61208ed-cfc9-41db-b98e-8ca1e81cbf8a" providerId="ADAL" clId="{E2AFD9C4-AE72-41C4-8AED-DB8EA4511095}" dt="2022-09-01T17:00:47.722" v="2202" actId="20577"/>
          <ac:spMkLst>
            <pc:docMk/>
            <pc:sldMk cId="2795144421" sldId="349"/>
            <ac:spMk id="15" creationId="{CE24284A-B6C5-4B7D-B962-43794F8876BE}"/>
          </ac:spMkLst>
        </pc:spChg>
        <pc:picChg chg="mod">
          <ac:chgData name="Daniel Esteban Ortiz Carvajal" userId="c61208ed-cfc9-41db-b98e-8ca1e81cbf8a" providerId="ADAL" clId="{E2AFD9C4-AE72-41C4-8AED-DB8EA4511095}" dt="2022-09-01T16:44:55.502" v="1463" actId="1076"/>
          <ac:picMkLst>
            <pc:docMk/>
            <pc:sldMk cId="2795144421" sldId="349"/>
            <ac:picMk id="1026" creationId="{D2F81808-1A19-43DA-AF28-DB8880387AD0}"/>
          </ac:picMkLst>
        </pc:picChg>
      </pc:sldChg>
      <pc:sldChg chg="delSp modSp add mod">
        <pc:chgData name="Daniel Esteban Ortiz Carvajal" userId="c61208ed-cfc9-41db-b98e-8ca1e81cbf8a" providerId="ADAL" clId="{E2AFD9C4-AE72-41C4-8AED-DB8EA4511095}" dt="2022-09-01T17:07:39.329" v="2301" actId="20577"/>
        <pc:sldMkLst>
          <pc:docMk/>
          <pc:sldMk cId="2617973425" sldId="350"/>
        </pc:sldMkLst>
        <pc:spChg chg="mod">
          <ac:chgData name="Daniel Esteban Ortiz Carvajal" userId="c61208ed-cfc9-41db-b98e-8ca1e81cbf8a" providerId="ADAL" clId="{E2AFD9C4-AE72-41C4-8AED-DB8EA4511095}" dt="2022-09-01T16:45:28.872" v="1490" actId="20577"/>
          <ac:spMkLst>
            <pc:docMk/>
            <pc:sldMk cId="2617973425" sldId="350"/>
            <ac:spMk id="2" creationId="{C274B575-B31C-415F-AF62-A305A7D4E415}"/>
          </ac:spMkLst>
        </pc:spChg>
        <pc:spChg chg="mod">
          <ac:chgData name="Daniel Esteban Ortiz Carvajal" userId="c61208ed-cfc9-41db-b98e-8ca1e81cbf8a" providerId="ADAL" clId="{E2AFD9C4-AE72-41C4-8AED-DB8EA4511095}" dt="2022-09-01T17:02:05.972" v="2255" actId="20577"/>
          <ac:spMkLst>
            <pc:docMk/>
            <pc:sldMk cId="2617973425" sldId="350"/>
            <ac:spMk id="3" creationId="{9F907A29-1784-4E0C-A8FE-033C7E24E547}"/>
          </ac:spMkLst>
        </pc:spChg>
        <pc:spChg chg="mod">
          <ac:chgData name="Daniel Esteban Ortiz Carvajal" userId="c61208ed-cfc9-41db-b98e-8ca1e81cbf8a" providerId="ADAL" clId="{E2AFD9C4-AE72-41C4-8AED-DB8EA4511095}" dt="2022-09-01T16:45:48.813" v="1492" actId="1076"/>
          <ac:spMkLst>
            <pc:docMk/>
            <pc:sldMk cId="2617973425" sldId="350"/>
            <ac:spMk id="10" creationId="{22646D52-CF93-4B5E-97E0-CFE1A1BDEFF0}"/>
          </ac:spMkLst>
        </pc:spChg>
        <pc:spChg chg="mod">
          <ac:chgData name="Daniel Esteban Ortiz Carvajal" userId="c61208ed-cfc9-41db-b98e-8ca1e81cbf8a" providerId="ADAL" clId="{E2AFD9C4-AE72-41C4-8AED-DB8EA4511095}" dt="2022-09-01T17:07:39.329" v="2301" actId="20577"/>
          <ac:spMkLst>
            <pc:docMk/>
            <pc:sldMk cId="2617973425" sldId="350"/>
            <ac:spMk id="12" creationId="{1CBA2BFC-C384-4131-A78D-69F5971FE4C4}"/>
          </ac:spMkLst>
        </pc:spChg>
        <pc:spChg chg="del">
          <ac:chgData name="Daniel Esteban Ortiz Carvajal" userId="c61208ed-cfc9-41db-b98e-8ca1e81cbf8a" providerId="ADAL" clId="{E2AFD9C4-AE72-41C4-8AED-DB8EA4511095}" dt="2022-09-01T16:45:53.703" v="1493" actId="478"/>
          <ac:spMkLst>
            <pc:docMk/>
            <pc:sldMk cId="2617973425" sldId="350"/>
            <ac:spMk id="14" creationId="{BE64238A-2901-434A-B671-74A74FD894AF}"/>
          </ac:spMkLst>
        </pc:spChg>
        <pc:picChg chg="mod">
          <ac:chgData name="Daniel Esteban Ortiz Carvajal" userId="c61208ed-cfc9-41db-b98e-8ca1e81cbf8a" providerId="ADAL" clId="{E2AFD9C4-AE72-41C4-8AED-DB8EA4511095}" dt="2022-09-01T16:45:48.813" v="1492" actId="1076"/>
          <ac:picMkLst>
            <pc:docMk/>
            <pc:sldMk cId="2617973425" sldId="350"/>
            <ac:picMk id="6" creationId="{E05C968A-0A3E-417E-AEAE-E1BCFCA557E7}"/>
          </ac:picMkLst>
        </pc:picChg>
        <pc:picChg chg="del mod">
          <ac:chgData name="Daniel Esteban Ortiz Carvajal" userId="c61208ed-cfc9-41db-b98e-8ca1e81cbf8a" providerId="ADAL" clId="{E2AFD9C4-AE72-41C4-8AED-DB8EA4511095}" dt="2022-09-01T16:46:00.097" v="1495" actId="478"/>
          <ac:picMkLst>
            <pc:docMk/>
            <pc:sldMk cId="2617973425" sldId="350"/>
            <ac:picMk id="9" creationId="{AB72E81C-B5D3-46D5-907A-639CBC44BDD0}"/>
          </ac:picMkLst>
        </pc:picChg>
      </pc:sldChg>
      <pc:sldChg chg="modSp add del mod">
        <pc:chgData name="Daniel Esteban Ortiz Carvajal" userId="c61208ed-cfc9-41db-b98e-8ca1e81cbf8a" providerId="ADAL" clId="{E2AFD9C4-AE72-41C4-8AED-DB8EA4511095}" dt="2022-09-01T17:08:01.914" v="2305" actId="47"/>
        <pc:sldMkLst>
          <pc:docMk/>
          <pc:sldMk cId="2688807082" sldId="351"/>
        </pc:sldMkLst>
        <pc:spChg chg="mod">
          <ac:chgData name="Daniel Esteban Ortiz Carvajal" userId="c61208ed-cfc9-41db-b98e-8ca1e81cbf8a" providerId="ADAL" clId="{E2AFD9C4-AE72-41C4-8AED-DB8EA4511095}" dt="2022-09-01T17:07:55.982" v="2303" actId="20577"/>
          <ac:spMkLst>
            <pc:docMk/>
            <pc:sldMk cId="2688807082" sldId="351"/>
            <ac:spMk id="3" creationId="{9F907A29-1784-4E0C-A8FE-033C7E24E547}"/>
          </ac:spMkLst>
        </pc:spChg>
      </pc:sldChg>
      <pc:sldChg chg="addSp delSp modSp add mod">
        <pc:chgData name="Daniel Esteban Ortiz Carvajal" userId="c61208ed-cfc9-41db-b98e-8ca1e81cbf8a" providerId="ADAL" clId="{E2AFD9C4-AE72-41C4-8AED-DB8EA4511095}" dt="2022-09-01T17:01:32.475" v="2253" actId="14100"/>
        <pc:sldMkLst>
          <pc:docMk/>
          <pc:sldMk cId="4099604070" sldId="352"/>
        </pc:sldMkLst>
        <pc:spChg chg="mod ord">
          <ac:chgData name="Daniel Esteban Ortiz Carvajal" userId="c61208ed-cfc9-41db-b98e-8ca1e81cbf8a" providerId="ADAL" clId="{E2AFD9C4-AE72-41C4-8AED-DB8EA4511095}" dt="2022-09-01T16:53:50.345" v="1924"/>
          <ac:spMkLst>
            <pc:docMk/>
            <pc:sldMk cId="4099604070" sldId="352"/>
            <ac:spMk id="2" creationId="{C274B575-B31C-415F-AF62-A305A7D4E415}"/>
          </ac:spMkLst>
        </pc:spChg>
        <pc:spChg chg="mod ord">
          <ac:chgData name="Daniel Esteban Ortiz Carvajal" userId="c61208ed-cfc9-41db-b98e-8ca1e81cbf8a" providerId="ADAL" clId="{E2AFD9C4-AE72-41C4-8AED-DB8EA4511095}" dt="2022-09-01T16:54:37.409" v="1953" actId="1076"/>
          <ac:spMkLst>
            <pc:docMk/>
            <pc:sldMk cId="4099604070" sldId="352"/>
            <ac:spMk id="3" creationId="{9F907A29-1784-4E0C-A8FE-033C7E24E547}"/>
          </ac:spMkLst>
        </pc:spChg>
        <pc:spChg chg="del mod ord">
          <ac:chgData name="Daniel Esteban Ortiz Carvajal" userId="c61208ed-cfc9-41db-b98e-8ca1e81cbf8a" providerId="ADAL" clId="{E2AFD9C4-AE72-41C4-8AED-DB8EA4511095}" dt="2022-09-01T16:54:41.229" v="1955" actId="478"/>
          <ac:spMkLst>
            <pc:docMk/>
            <pc:sldMk cId="4099604070" sldId="352"/>
            <ac:spMk id="11" creationId="{C3817D5B-1AF9-4157-83E9-F32F433F749A}"/>
          </ac:spMkLst>
        </pc:spChg>
        <pc:spChg chg="del mod ord">
          <ac:chgData name="Daniel Esteban Ortiz Carvajal" userId="c61208ed-cfc9-41db-b98e-8ca1e81cbf8a" providerId="ADAL" clId="{E2AFD9C4-AE72-41C4-8AED-DB8EA4511095}" dt="2022-09-01T16:59:30.993" v="2112" actId="478"/>
          <ac:spMkLst>
            <pc:docMk/>
            <pc:sldMk cId="4099604070" sldId="352"/>
            <ac:spMk id="12" creationId="{E4788CB1-4E24-4C03-BEDF-7235D643ADB6}"/>
          </ac:spMkLst>
        </pc:spChg>
        <pc:spChg chg="mod ord">
          <ac:chgData name="Daniel Esteban Ortiz Carvajal" userId="c61208ed-cfc9-41db-b98e-8ca1e81cbf8a" providerId="ADAL" clId="{E2AFD9C4-AE72-41C4-8AED-DB8EA4511095}" dt="2022-09-01T16:54:30.255" v="1951" actId="14100"/>
          <ac:spMkLst>
            <pc:docMk/>
            <pc:sldMk cId="4099604070" sldId="352"/>
            <ac:spMk id="13" creationId="{1797B81D-F96F-4B50-A0D6-1490A595FAF0}"/>
          </ac:spMkLst>
        </pc:spChg>
        <pc:spChg chg="add del mod">
          <ac:chgData name="Daniel Esteban Ortiz Carvajal" userId="c61208ed-cfc9-41db-b98e-8ca1e81cbf8a" providerId="ADAL" clId="{E2AFD9C4-AE72-41C4-8AED-DB8EA4511095}" dt="2022-09-01T16:54:40.374" v="1954" actId="478"/>
          <ac:spMkLst>
            <pc:docMk/>
            <pc:sldMk cId="4099604070" sldId="352"/>
            <ac:spMk id="14" creationId="{AE0FA387-DC65-438E-8985-69D01F033063}"/>
          </ac:spMkLst>
        </pc:spChg>
        <pc:spChg chg="mod ord">
          <ac:chgData name="Daniel Esteban Ortiz Carvajal" userId="c61208ed-cfc9-41db-b98e-8ca1e81cbf8a" providerId="ADAL" clId="{E2AFD9C4-AE72-41C4-8AED-DB8EA4511095}" dt="2022-09-01T17:01:32.475" v="2253" actId="14100"/>
          <ac:spMkLst>
            <pc:docMk/>
            <pc:sldMk cId="4099604070" sldId="352"/>
            <ac:spMk id="15" creationId="{CE24284A-B6C5-4B7D-B962-43794F8876BE}"/>
          </ac:spMkLst>
        </pc:spChg>
        <pc:spChg chg="add del mod">
          <ac:chgData name="Daniel Esteban Ortiz Carvajal" userId="c61208ed-cfc9-41db-b98e-8ca1e81cbf8a" providerId="ADAL" clId="{E2AFD9C4-AE72-41C4-8AED-DB8EA4511095}" dt="2022-09-01T16:54:40.374" v="1954" actId="478"/>
          <ac:spMkLst>
            <pc:docMk/>
            <pc:sldMk cId="4099604070" sldId="352"/>
            <ac:spMk id="16" creationId="{354780CF-624E-4074-8264-6C6CA76F05A9}"/>
          </ac:spMkLst>
        </pc:spChg>
        <pc:spChg chg="add mod">
          <ac:chgData name="Daniel Esteban Ortiz Carvajal" userId="c61208ed-cfc9-41db-b98e-8ca1e81cbf8a" providerId="ADAL" clId="{E2AFD9C4-AE72-41C4-8AED-DB8EA4511095}" dt="2022-09-01T17:00:37.364" v="2198" actId="14100"/>
          <ac:spMkLst>
            <pc:docMk/>
            <pc:sldMk cId="4099604070" sldId="352"/>
            <ac:spMk id="17" creationId="{8C7AA737-55FF-4A52-B018-91998A1A21BF}"/>
          </ac:spMkLst>
        </pc:spChg>
        <pc:graphicFrameChg chg="mod">
          <ac:chgData name="Daniel Esteban Ortiz Carvajal" userId="c61208ed-cfc9-41db-b98e-8ca1e81cbf8a" providerId="ADAL" clId="{E2AFD9C4-AE72-41C4-8AED-DB8EA4511095}" dt="2022-09-01T16:53:50.361" v="1941"/>
          <ac:graphicFrameMkLst>
            <pc:docMk/>
            <pc:sldMk cId="4099604070" sldId="352"/>
            <ac:graphicFrameMk id="4" creationId="{C9C26DB0-4F48-4A60-A028-DB70D851EF57}"/>
          </ac:graphicFrameMkLst>
        </pc:graphicFrameChg>
        <pc:picChg chg="add mod ord">
          <ac:chgData name="Daniel Esteban Ortiz Carvajal" userId="c61208ed-cfc9-41db-b98e-8ca1e81cbf8a" providerId="ADAL" clId="{E2AFD9C4-AE72-41C4-8AED-DB8EA4511095}" dt="2022-09-01T16:59:39.404" v="2114" actId="108"/>
          <ac:picMkLst>
            <pc:docMk/>
            <pc:sldMk cId="4099604070" sldId="352"/>
            <ac:picMk id="6" creationId="{5CA3914C-1695-46C6-B4B0-EB8CE9D3AEEA}"/>
          </ac:picMkLst>
        </pc:picChg>
        <pc:picChg chg="del mod ord">
          <ac:chgData name="Daniel Esteban Ortiz Carvajal" userId="c61208ed-cfc9-41db-b98e-8ca1e81cbf8a" providerId="ADAL" clId="{E2AFD9C4-AE72-41C4-8AED-DB8EA4511095}" dt="2022-09-01T16:54:44.127" v="1957" actId="478"/>
          <ac:picMkLst>
            <pc:docMk/>
            <pc:sldMk cId="4099604070" sldId="352"/>
            <ac:picMk id="7" creationId="{BBE4820E-A006-423D-9FAA-3968F06A7CB2}"/>
          </ac:picMkLst>
        </pc:picChg>
        <pc:picChg chg="add mod">
          <ac:chgData name="Daniel Esteban Ortiz Carvajal" userId="c61208ed-cfc9-41db-b98e-8ca1e81cbf8a" providerId="ADAL" clId="{E2AFD9C4-AE72-41C4-8AED-DB8EA4511095}" dt="2022-09-01T16:59:50.379" v="2137" actId="1036"/>
          <ac:picMkLst>
            <pc:docMk/>
            <pc:sldMk cId="4099604070" sldId="352"/>
            <ac:picMk id="9" creationId="{90DF8E8D-378F-4926-8E7B-5A3736A9B2FA}"/>
          </ac:picMkLst>
        </pc:picChg>
        <pc:picChg chg="add del">
          <ac:chgData name="Daniel Esteban Ortiz Carvajal" userId="c61208ed-cfc9-41db-b98e-8ca1e81cbf8a" providerId="ADAL" clId="{E2AFD9C4-AE72-41C4-8AED-DB8EA4511095}" dt="2022-09-01T16:49:15.118" v="1514" actId="478"/>
          <ac:picMkLst>
            <pc:docMk/>
            <pc:sldMk cId="4099604070" sldId="352"/>
            <ac:picMk id="1026" creationId="{D2F81808-1A19-43DA-AF28-DB8880387AD0}"/>
          </ac:picMkLst>
        </pc:picChg>
      </pc:sldChg>
      <pc:sldChg chg="addSp delSp modSp add mod">
        <pc:chgData name="Daniel Esteban Ortiz Carvajal" userId="c61208ed-cfc9-41db-b98e-8ca1e81cbf8a" providerId="ADAL" clId="{E2AFD9C4-AE72-41C4-8AED-DB8EA4511095}" dt="2022-09-01T17:14:11.603" v="2937" actId="20577"/>
        <pc:sldMkLst>
          <pc:docMk/>
          <pc:sldMk cId="480988146" sldId="353"/>
        </pc:sldMkLst>
        <pc:spChg chg="mod ord">
          <ac:chgData name="Daniel Esteban Ortiz Carvajal" userId="c61208ed-cfc9-41db-b98e-8ca1e81cbf8a" providerId="ADAL" clId="{E2AFD9C4-AE72-41C4-8AED-DB8EA4511095}" dt="2022-09-01T17:12:01.131" v="2790"/>
          <ac:spMkLst>
            <pc:docMk/>
            <pc:sldMk cId="480988146" sldId="353"/>
            <ac:spMk id="2" creationId="{C274B575-B31C-415F-AF62-A305A7D4E415}"/>
          </ac:spMkLst>
        </pc:spChg>
        <pc:spChg chg="mod ord">
          <ac:chgData name="Daniel Esteban Ortiz Carvajal" userId="c61208ed-cfc9-41db-b98e-8ca1e81cbf8a" providerId="ADAL" clId="{E2AFD9C4-AE72-41C4-8AED-DB8EA4511095}" dt="2022-09-01T17:12:01.131" v="2792"/>
          <ac:spMkLst>
            <pc:docMk/>
            <pc:sldMk cId="480988146" sldId="353"/>
            <ac:spMk id="3" creationId="{9F907A29-1784-4E0C-A8FE-033C7E24E547}"/>
          </ac:spMkLst>
        </pc:spChg>
        <pc:spChg chg="mod ord">
          <ac:chgData name="Daniel Esteban Ortiz Carvajal" userId="c61208ed-cfc9-41db-b98e-8ca1e81cbf8a" providerId="ADAL" clId="{E2AFD9C4-AE72-41C4-8AED-DB8EA4511095}" dt="2022-09-01T17:12:08.217" v="2805" actId="1076"/>
          <ac:spMkLst>
            <pc:docMk/>
            <pc:sldMk cId="480988146" sldId="353"/>
            <ac:spMk id="10" creationId="{22646D52-CF93-4B5E-97E0-CFE1A1BDEFF0}"/>
          </ac:spMkLst>
        </pc:spChg>
        <pc:spChg chg="mod ord">
          <ac:chgData name="Daniel Esteban Ortiz Carvajal" userId="c61208ed-cfc9-41db-b98e-8ca1e81cbf8a" providerId="ADAL" clId="{E2AFD9C4-AE72-41C4-8AED-DB8EA4511095}" dt="2022-09-01T17:14:11.603" v="2937" actId="20577"/>
          <ac:spMkLst>
            <pc:docMk/>
            <pc:sldMk cId="480988146" sldId="353"/>
            <ac:spMk id="12" creationId="{1CBA2BFC-C384-4131-A78D-69F5971FE4C4}"/>
          </ac:spMkLst>
        </pc:spChg>
        <pc:spChg chg="add mod">
          <ac:chgData name="Daniel Esteban Ortiz Carvajal" userId="c61208ed-cfc9-41db-b98e-8ca1e81cbf8a" providerId="ADAL" clId="{E2AFD9C4-AE72-41C4-8AED-DB8EA4511095}" dt="2022-09-01T17:12:17.750" v="2808" actId="14100"/>
          <ac:spMkLst>
            <pc:docMk/>
            <pc:sldMk cId="480988146" sldId="353"/>
            <ac:spMk id="13" creationId="{A4E33C46-2475-435E-A1B4-2DD3C940FA3D}"/>
          </ac:spMkLst>
        </pc:spChg>
        <pc:graphicFrameChg chg="mod">
          <ac:chgData name="Daniel Esteban Ortiz Carvajal" userId="c61208ed-cfc9-41db-b98e-8ca1e81cbf8a" providerId="ADAL" clId="{E2AFD9C4-AE72-41C4-8AED-DB8EA4511095}" dt="2022-09-01T17:12:01.131" v="2801"/>
          <ac:graphicFrameMkLst>
            <pc:docMk/>
            <pc:sldMk cId="480988146" sldId="353"/>
            <ac:graphicFrameMk id="4" creationId="{C9C26DB0-4F48-4A60-A028-DB70D851EF57}"/>
          </ac:graphicFrameMkLst>
        </pc:graphicFrameChg>
        <pc:picChg chg="del">
          <ac:chgData name="Daniel Esteban Ortiz Carvajal" userId="c61208ed-cfc9-41db-b98e-8ca1e81cbf8a" providerId="ADAL" clId="{E2AFD9C4-AE72-41C4-8AED-DB8EA4511095}" dt="2022-09-01T17:10:26.445" v="2657" actId="478"/>
          <ac:picMkLst>
            <pc:docMk/>
            <pc:sldMk cId="480988146" sldId="353"/>
            <ac:picMk id="6" creationId="{E05C968A-0A3E-417E-AEAE-E1BCFCA557E7}"/>
          </ac:picMkLst>
        </pc:picChg>
        <pc:picChg chg="add del mod ord">
          <ac:chgData name="Daniel Esteban Ortiz Carvajal" userId="c61208ed-cfc9-41db-b98e-8ca1e81cbf8a" providerId="ADAL" clId="{E2AFD9C4-AE72-41C4-8AED-DB8EA4511095}" dt="2022-09-01T17:11:54.769" v="2785" actId="478"/>
          <ac:picMkLst>
            <pc:docMk/>
            <pc:sldMk cId="480988146" sldId="353"/>
            <ac:picMk id="7" creationId="{FD112937-CE2E-4DF9-B8E1-CCC48BA2014F}"/>
          </ac:picMkLst>
        </pc:picChg>
        <pc:picChg chg="add mod ord">
          <ac:chgData name="Daniel Esteban Ortiz Carvajal" userId="c61208ed-cfc9-41db-b98e-8ca1e81cbf8a" providerId="ADAL" clId="{E2AFD9C4-AE72-41C4-8AED-DB8EA4511095}" dt="2022-09-01T17:12:06.528" v="2804" actId="1076"/>
          <ac:picMkLst>
            <pc:docMk/>
            <pc:sldMk cId="480988146" sldId="353"/>
            <ac:picMk id="9" creationId="{9650552E-6DB0-49FA-BFC0-7CC680D59A5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93CC911B-B885-467C-8300-8697687AE99B}" type="datetimeFigureOut">
              <a:rPr lang="en-US" smtClean="0"/>
              <a:pPr/>
              <a:t>11/1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2666ECAF-F6B2-4D2B-BE23-3470F43EB378}" type="slidenum">
              <a:rPr lang="en-US" smtClean="0"/>
              <a:pPr/>
              <a:t>‹#›</a:t>
            </a:fld>
            <a:endParaRPr lang="en-US" dirty="0"/>
          </a:p>
        </p:txBody>
      </p:sp>
    </p:spTree>
    <p:extLst>
      <p:ext uri="{BB962C8B-B14F-4D97-AF65-F5344CB8AC3E}">
        <p14:creationId xmlns:p14="http://schemas.microsoft.com/office/powerpoint/2010/main" val="3807380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1</a:t>
            </a:fld>
            <a:endParaRPr lang="en-US" dirty="0"/>
          </a:p>
        </p:txBody>
      </p:sp>
    </p:spTree>
    <p:extLst>
      <p:ext uri="{BB962C8B-B14F-4D97-AF65-F5344CB8AC3E}">
        <p14:creationId xmlns:p14="http://schemas.microsoft.com/office/powerpoint/2010/main" val="4250343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2</a:t>
            </a:fld>
            <a:endParaRPr lang="en-US" dirty="0"/>
          </a:p>
        </p:txBody>
      </p:sp>
    </p:spTree>
    <p:extLst>
      <p:ext uri="{BB962C8B-B14F-4D97-AF65-F5344CB8AC3E}">
        <p14:creationId xmlns:p14="http://schemas.microsoft.com/office/powerpoint/2010/main" val="2687111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3</a:t>
            </a:fld>
            <a:endParaRPr lang="en-US" dirty="0"/>
          </a:p>
        </p:txBody>
      </p:sp>
    </p:spTree>
    <p:extLst>
      <p:ext uri="{BB962C8B-B14F-4D97-AF65-F5344CB8AC3E}">
        <p14:creationId xmlns:p14="http://schemas.microsoft.com/office/powerpoint/2010/main" val="2218603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4</a:t>
            </a:fld>
            <a:endParaRPr lang="en-US" dirty="0"/>
          </a:p>
        </p:txBody>
      </p:sp>
    </p:spTree>
    <p:extLst>
      <p:ext uri="{BB962C8B-B14F-4D97-AF65-F5344CB8AC3E}">
        <p14:creationId xmlns:p14="http://schemas.microsoft.com/office/powerpoint/2010/main" val="541847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5</a:t>
            </a:fld>
            <a:endParaRPr lang="en-US" dirty="0"/>
          </a:p>
        </p:txBody>
      </p:sp>
    </p:spTree>
    <p:extLst>
      <p:ext uri="{BB962C8B-B14F-4D97-AF65-F5344CB8AC3E}">
        <p14:creationId xmlns:p14="http://schemas.microsoft.com/office/powerpoint/2010/main" val="2266837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6</a:t>
            </a:fld>
            <a:endParaRPr lang="en-US" dirty="0"/>
          </a:p>
        </p:txBody>
      </p:sp>
    </p:spTree>
    <p:extLst>
      <p:ext uri="{BB962C8B-B14F-4D97-AF65-F5344CB8AC3E}">
        <p14:creationId xmlns:p14="http://schemas.microsoft.com/office/powerpoint/2010/main" val="3742463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7</a:t>
            </a:fld>
            <a:endParaRPr lang="en-US" dirty="0"/>
          </a:p>
        </p:txBody>
      </p:sp>
    </p:spTree>
    <p:extLst>
      <p:ext uri="{BB962C8B-B14F-4D97-AF65-F5344CB8AC3E}">
        <p14:creationId xmlns:p14="http://schemas.microsoft.com/office/powerpoint/2010/main" val="397098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8</a:t>
            </a:fld>
            <a:endParaRPr lang="en-US" dirty="0"/>
          </a:p>
        </p:txBody>
      </p:sp>
    </p:spTree>
    <p:extLst>
      <p:ext uri="{BB962C8B-B14F-4D97-AF65-F5344CB8AC3E}">
        <p14:creationId xmlns:p14="http://schemas.microsoft.com/office/powerpoint/2010/main" val="2738290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66ECAF-F6B2-4D2B-BE23-3470F43EB378}" type="slidenum">
              <a:rPr lang="en-US" smtClean="0"/>
              <a:pPr/>
              <a:t>9</a:t>
            </a:fld>
            <a:endParaRPr lang="en-US" dirty="0"/>
          </a:p>
        </p:txBody>
      </p:sp>
    </p:spTree>
    <p:extLst>
      <p:ext uri="{BB962C8B-B14F-4D97-AF65-F5344CB8AC3E}">
        <p14:creationId xmlns:p14="http://schemas.microsoft.com/office/powerpoint/2010/main" val="23981778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5.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4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5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52.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5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single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DB593C-11BC-4F15-90D6-5A3450E0C0F6}"/>
              </a:ext>
            </a:extLst>
          </p:cNvPr>
          <p:cNvGraphicFramePr>
            <a:graphicFrameLocks noChangeAspect="1"/>
          </p:cNvGraphicFramePr>
          <p:nvPr userDrawn="1">
            <p:custDataLst>
              <p:tags r:id="rId1"/>
            </p:custDataLst>
            <p:extLst>
              <p:ext uri="{D42A27DB-BD31-4B8C-83A1-F6EECF244321}">
                <p14:modId xmlns:p14="http://schemas.microsoft.com/office/powerpoint/2010/main" val="38350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68DB593C-11BC-4F15-90D6-5A3450E0C0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3"/>
          <p:cNvSpPr>
            <a:spLocks noGrp="1"/>
          </p:cNvSpPr>
          <p:nvPr>
            <p:ph type="title" hasCustomPrompt="1"/>
          </p:nvPr>
        </p:nvSpPr>
        <p:spPr>
          <a:xfrm>
            <a:off x="522514" y="1733378"/>
            <a:ext cx="4308794" cy="1345782"/>
          </a:xfrm>
          <a:prstGeom prst="rect">
            <a:avLst/>
          </a:prstGeom>
          <a:solidFill>
            <a:srgbClr val="FFFFFF">
              <a:alpha val="18039"/>
            </a:srgbClr>
          </a:solidFill>
        </p:spPr>
        <p:txBody>
          <a:bodyPr vert="horz" anchor="ctr"/>
          <a:lstStyle>
            <a:lvl1pPr rtl="0">
              <a:defRPr cap="all" baseline="0">
                <a:solidFill>
                  <a:schemeClr val="tx1"/>
                </a:solidFill>
                <a:latin typeface="+mn-lt"/>
              </a:defRPr>
            </a:lvl1pPr>
          </a:lstStyle>
          <a:p>
            <a:r>
              <a:rPr lang="en-US" dirty="0"/>
              <a:t>Title</a:t>
            </a:r>
          </a:p>
        </p:txBody>
      </p:sp>
      <p:sp>
        <p:nvSpPr>
          <p:cNvPr id="7" name="Text Placeholder 6">
            <a:extLst>
              <a:ext uri="{FF2B5EF4-FFF2-40B4-BE49-F238E27FC236}">
                <a16:creationId xmlns:a16="http://schemas.microsoft.com/office/drawing/2014/main" id="{A59AAB0E-FF1A-46D0-92FA-24F4C3230641}"/>
              </a:ext>
            </a:extLst>
          </p:cNvPr>
          <p:cNvSpPr>
            <a:spLocks noGrp="1"/>
          </p:cNvSpPr>
          <p:nvPr>
            <p:ph type="body" sz="quarter" idx="11" hasCustomPrompt="1"/>
          </p:nvPr>
        </p:nvSpPr>
        <p:spPr>
          <a:xfrm>
            <a:off x="521785" y="3778250"/>
            <a:ext cx="4308793" cy="458787"/>
          </a:xfrm>
          <a:prstGeom prst="rect">
            <a:avLst/>
          </a:prstGeom>
        </p:spPr>
        <p:txBody>
          <a:bodyPr/>
          <a:lstStyle>
            <a:lvl1pPr marL="0" indent="0" rtl="0">
              <a:buNone/>
              <a:defRPr sz="2400" b="1">
                <a:solidFill>
                  <a:schemeClr val="tx1"/>
                </a:solidFill>
              </a:defRPr>
            </a:lvl1pPr>
          </a:lstStyle>
          <a:p>
            <a:pPr lvl="0"/>
            <a:r>
              <a:rPr lang="en-US" dirty="0"/>
              <a:t>Subtitle</a:t>
            </a:r>
          </a:p>
        </p:txBody>
      </p:sp>
      <p:cxnSp>
        <p:nvCxnSpPr>
          <p:cNvPr id="9" name="Straight Connector 8">
            <a:extLst>
              <a:ext uri="{FF2B5EF4-FFF2-40B4-BE49-F238E27FC236}">
                <a16:creationId xmlns:a16="http://schemas.microsoft.com/office/drawing/2014/main" id="{92E302C7-A93F-4991-A37F-39463C755350}"/>
              </a:ext>
            </a:extLst>
          </p:cNvPr>
          <p:cNvCxnSpPr/>
          <p:nvPr userDrawn="1"/>
        </p:nvCxnSpPr>
        <p:spPr>
          <a:xfrm>
            <a:off x="690836" y="3179857"/>
            <a:ext cx="42308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379DE25-8C83-4534-B8E6-4F0F95EC54D0}"/>
              </a:ext>
            </a:extLst>
          </p:cNvPr>
          <p:cNvSpPr/>
          <p:nvPr userDrawn="1"/>
        </p:nvSpPr>
        <p:spPr>
          <a:xfrm>
            <a:off x="12232944" y="0"/>
            <a:ext cx="1828800" cy="1828800"/>
          </a:xfrm>
          <a:prstGeom prst="ellipse">
            <a:avLst/>
          </a:prstGeom>
          <a:solidFill>
            <a:srgbClr val="66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1" name="Oval 10">
            <a:extLst>
              <a:ext uri="{FF2B5EF4-FFF2-40B4-BE49-F238E27FC236}">
                <a16:creationId xmlns:a16="http://schemas.microsoft.com/office/drawing/2014/main" id="{EAAE7DFB-B52E-45C3-A5E1-038C05FD3878}"/>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
        <p:nvSpPr>
          <p:cNvPr id="12" name="Oval 11">
            <a:extLst>
              <a:ext uri="{FF2B5EF4-FFF2-40B4-BE49-F238E27FC236}">
                <a16:creationId xmlns:a16="http://schemas.microsoft.com/office/drawing/2014/main" id="{737E4B51-4D9A-4F2C-BA28-148F5D4FFACD}"/>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3" name="Oval 12">
            <a:extLst>
              <a:ext uri="{FF2B5EF4-FFF2-40B4-BE49-F238E27FC236}">
                <a16:creationId xmlns:a16="http://schemas.microsoft.com/office/drawing/2014/main" id="{9BF335E9-83B1-487C-8F60-43EB86A6E499}"/>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4" name="Oval 13">
            <a:extLst>
              <a:ext uri="{FF2B5EF4-FFF2-40B4-BE49-F238E27FC236}">
                <a16:creationId xmlns:a16="http://schemas.microsoft.com/office/drawing/2014/main" id="{D35228B6-DD05-4EFC-BD4C-F018DFC6CEB4}"/>
              </a:ext>
            </a:extLst>
          </p:cNvPr>
          <p:cNvSpPr/>
          <p:nvPr userDrawn="1"/>
        </p:nvSpPr>
        <p:spPr>
          <a:xfrm>
            <a:off x="13222752" y="2951362"/>
            <a:ext cx="905164" cy="905164"/>
          </a:xfrm>
          <a:prstGeom prst="ellipse">
            <a:avLst/>
          </a:prstGeom>
          <a:solidFill>
            <a:srgbClr val="99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4" name="Picture Placeholder 3">
            <a:extLst>
              <a:ext uri="{FF2B5EF4-FFF2-40B4-BE49-F238E27FC236}">
                <a16:creationId xmlns:a16="http://schemas.microsoft.com/office/drawing/2014/main" id="{A7F5A313-A9F8-49E0-8FC8-4E46F332BFBD}"/>
              </a:ext>
            </a:extLst>
          </p:cNvPr>
          <p:cNvSpPr>
            <a:spLocks noGrp="1"/>
          </p:cNvSpPr>
          <p:nvPr>
            <p:ph type="pic" sz="quarter" idx="10"/>
          </p:nvPr>
        </p:nvSpPr>
        <p:spPr>
          <a:xfrm>
            <a:off x="5410201" y="40221"/>
            <a:ext cx="6784416" cy="6777558"/>
          </a:xfrm>
          <a:prstGeom prst="ellipse">
            <a:avLst/>
          </a:prstGeom>
        </p:spPr>
        <p:txBody>
          <a:bodyPr/>
          <a:lstStyle/>
          <a:p>
            <a:endParaRPr lang="en-US"/>
          </a:p>
        </p:txBody>
      </p:sp>
      <p:sp>
        <p:nvSpPr>
          <p:cNvPr id="19" name="Oval 18">
            <a:extLst>
              <a:ext uri="{FF2B5EF4-FFF2-40B4-BE49-F238E27FC236}">
                <a16:creationId xmlns:a16="http://schemas.microsoft.com/office/drawing/2014/main" id="{EB0CD403-C950-48B5-9B83-14BC172626E9}"/>
              </a:ext>
            </a:extLst>
          </p:cNvPr>
          <p:cNvSpPr/>
          <p:nvPr userDrawn="1"/>
        </p:nvSpPr>
        <p:spPr>
          <a:xfrm>
            <a:off x="4902956" y="-188380"/>
            <a:ext cx="7035484" cy="673647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0" name="Rectangle 19">
            <a:extLst>
              <a:ext uri="{FF2B5EF4-FFF2-40B4-BE49-F238E27FC236}">
                <a16:creationId xmlns:a16="http://schemas.microsoft.com/office/drawing/2014/main" id="{19A0A35F-6EEE-4110-B64B-2AF0B65F95DD}"/>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
        <p:nvSpPr>
          <p:cNvPr id="15" name="Text Placeholder 6">
            <a:extLst>
              <a:ext uri="{FF2B5EF4-FFF2-40B4-BE49-F238E27FC236}">
                <a16:creationId xmlns:a16="http://schemas.microsoft.com/office/drawing/2014/main" id="{94F163AE-5DF9-45FA-B585-D62405F334B5}"/>
              </a:ext>
            </a:extLst>
          </p:cNvPr>
          <p:cNvSpPr>
            <a:spLocks noGrp="1"/>
          </p:cNvSpPr>
          <p:nvPr>
            <p:ph type="body" sz="quarter" idx="13" hasCustomPrompt="1"/>
          </p:nvPr>
        </p:nvSpPr>
        <p:spPr>
          <a:xfrm>
            <a:off x="535027" y="4496098"/>
            <a:ext cx="4308793" cy="458787"/>
          </a:xfrm>
          <a:prstGeom prst="rect">
            <a:avLst/>
          </a:prstGeom>
        </p:spPr>
        <p:txBody>
          <a:bodyPr/>
          <a:lstStyle>
            <a:lvl1pPr marL="0" indent="0" rtl="0">
              <a:buNone/>
              <a:defRPr sz="1600" b="0">
                <a:solidFill>
                  <a:schemeClr val="bg2"/>
                </a:solidFill>
              </a:defRPr>
            </a:lvl1pPr>
          </a:lstStyle>
          <a:p>
            <a:pPr lvl="0"/>
            <a:r>
              <a:rPr lang="en-US" dirty="0"/>
              <a:t>Date</a:t>
            </a:r>
          </a:p>
        </p:txBody>
      </p:sp>
    </p:spTree>
    <p:extLst>
      <p:ext uri="{BB962C8B-B14F-4D97-AF65-F5344CB8AC3E}">
        <p14:creationId xmlns:p14="http://schemas.microsoft.com/office/powerpoint/2010/main" val="42946372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Grey">
    <p:bg>
      <p:bgPr>
        <a:solidFill>
          <a:srgbClr val="CCCCCC"/>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7200DB-7B30-4F4B-AFBE-C299F7E77631}"/>
              </a:ext>
            </a:extLst>
          </p:cNvPr>
          <p:cNvGraphicFramePr>
            <a:graphicFrameLocks noChangeAspect="1"/>
          </p:cNvGraphicFramePr>
          <p:nvPr userDrawn="1">
            <p:custDataLst>
              <p:tags r:id="rId1"/>
            </p:custDataLst>
            <p:extLst>
              <p:ext uri="{D42A27DB-BD31-4B8C-83A1-F6EECF244321}">
                <p14:modId xmlns:p14="http://schemas.microsoft.com/office/powerpoint/2010/main" val="1907169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F57200DB-7B30-4F4B-AFBE-C299F7E776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Arc 8">
            <a:extLst>
              <a:ext uri="{FF2B5EF4-FFF2-40B4-BE49-F238E27FC236}">
                <a16:creationId xmlns:a16="http://schemas.microsoft.com/office/drawing/2014/main" id="{49302056-3FD7-478A-BB4E-F78D43A2625C}"/>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0" name="Arc 9">
            <a:extLst>
              <a:ext uri="{FF2B5EF4-FFF2-40B4-BE49-F238E27FC236}">
                <a16:creationId xmlns:a16="http://schemas.microsoft.com/office/drawing/2014/main" id="{B2E9AB1A-C24A-4EC4-875C-B6893E5A5CA0}"/>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4A6CF651-283F-4A5D-A8E1-05E67AA35F43}"/>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4" name="Text Placeholder 7">
            <a:extLst>
              <a:ext uri="{FF2B5EF4-FFF2-40B4-BE49-F238E27FC236}">
                <a16:creationId xmlns:a16="http://schemas.microsoft.com/office/drawing/2014/main" id="{ABD25CB3-048D-4ACE-86AD-A270FC191C52}"/>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5" name="Text Placeholder 7">
            <a:extLst>
              <a:ext uri="{FF2B5EF4-FFF2-40B4-BE49-F238E27FC236}">
                <a16:creationId xmlns:a16="http://schemas.microsoft.com/office/drawing/2014/main" id="{AA291129-A608-447B-9831-459A0F595D03}"/>
              </a:ext>
            </a:extLst>
          </p:cNvPr>
          <p:cNvSpPr>
            <a:spLocks noGrp="1"/>
          </p:cNvSpPr>
          <p:nvPr>
            <p:ph type="body" sz="quarter" idx="12"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6" name="Straight Connector 15">
            <a:extLst>
              <a:ext uri="{FF2B5EF4-FFF2-40B4-BE49-F238E27FC236}">
                <a16:creationId xmlns:a16="http://schemas.microsoft.com/office/drawing/2014/main" id="{B9B9CAA2-920C-44E2-A692-FD6BA0EACEEB}"/>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7">
            <a:extLst>
              <a:ext uri="{FF2B5EF4-FFF2-40B4-BE49-F238E27FC236}">
                <a16:creationId xmlns:a16="http://schemas.microsoft.com/office/drawing/2014/main" id="{D9D8CC0F-BEB4-4A8B-BFF1-92410311DAF3}"/>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1356241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Yellow">
    <p:bg>
      <p:bgPr>
        <a:solidFill>
          <a:srgbClr val="FFCC00"/>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A6192A-A451-458B-A5D0-6B1B0FA4DF5E}"/>
              </a:ext>
            </a:extLst>
          </p:cNvPr>
          <p:cNvGraphicFramePr>
            <a:graphicFrameLocks noChangeAspect="1"/>
          </p:cNvGraphicFramePr>
          <p:nvPr userDrawn="1">
            <p:custDataLst>
              <p:tags r:id="rId1"/>
            </p:custDataLst>
            <p:extLst>
              <p:ext uri="{D42A27DB-BD31-4B8C-83A1-F6EECF244321}">
                <p14:modId xmlns:p14="http://schemas.microsoft.com/office/powerpoint/2010/main" val="1890295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1AA6192A-A451-458B-A5D0-6B1B0FA4DF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Arc 4">
            <a:extLst>
              <a:ext uri="{FF2B5EF4-FFF2-40B4-BE49-F238E27FC236}">
                <a16:creationId xmlns:a16="http://schemas.microsoft.com/office/drawing/2014/main" id="{1AFD7238-7F0B-48B2-BFD3-DA13F389755F}"/>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Arc 5">
            <a:extLst>
              <a:ext uri="{FF2B5EF4-FFF2-40B4-BE49-F238E27FC236}">
                <a16:creationId xmlns:a16="http://schemas.microsoft.com/office/drawing/2014/main" id="{EDC18B24-97EF-489E-B634-988F36F1E6CE}"/>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7" name="Arc 6">
            <a:extLst>
              <a:ext uri="{FF2B5EF4-FFF2-40B4-BE49-F238E27FC236}">
                <a16:creationId xmlns:a16="http://schemas.microsoft.com/office/drawing/2014/main" id="{4AC0D8B8-19AE-4F67-A422-71B7B873A441}"/>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0" name="Text Placeholder 7">
            <a:extLst>
              <a:ext uri="{FF2B5EF4-FFF2-40B4-BE49-F238E27FC236}">
                <a16:creationId xmlns:a16="http://schemas.microsoft.com/office/drawing/2014/main" id="{0206D886-98B6-430F-89D1-03CF22660C46}"/>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section TITLE</a:t>
            </a:r>
          </a:p>
        </p:txBody>
      </p:sp>
      <p:sp>
        <p:nvSpPr>
          <p:cNvPr id="11" name="Text Placeholder 7">
            <a:extLst>
              <a:ext uri="{FF2B5EF4-FFF2-40B4-BE49-F238E27FC236}">
                <a16:creationId xmlns:a16="http://schemas.microsoft.com/office/drawing/2014/main" id="{F848E916-D42A-49CE-8835-B67C881C86B1}"/>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2" name="Straight Connector 11">
            <a:extLst>
              <a:ext uri="{FF2B5EF4-FFF2-40B4-BE49-F238E27FC236}">
                <a16:creationId xmlns:a16="http://schemas.microsoft.com/office/drawing/2014/main" id="{3564B2A5-B3FC-4713-8DD3-E100C9119ECD}"/>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BE6DAD75-1167-4150-9374-9214C94E7CF6}"/>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42137481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A71272-E202-4308-AF32-C23D4CFD7704}"/>
              </a:ext>
            </a:extLst>
          </p:cNvPr>
          <p:cNvGraphicFramePr>
            <a:graphicFrameLocks noChangeAspect="1"/>
          </p:cNvGraphicFramePr>
          <p:nvPr userDrawn="1">
            <p:custDataLst>
              <p:tags r:id="rId1"/>
            </p:custDataLst>
            <p:extLst>
              <p:ext uri="{D42A27DB-BD31-4B8C-83A1-F6EECF244321}">
                <p14:modId xmlns:p14="http://schemas.microsoft.com/office/powerpoint/2010/main" val="350580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CA71272-E202-4308-AF32-C23D4CFD7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Arc 3">
            <a:extLst>
              <a:ext uri="{FF2B5EF4-FFF2-40B4-BE49-F238E27FC236}">
                <a16:creationId xmlns:a16="http://schemas.microsoft.com/office/drawing/2014/main" id="{43921284-4D9D-4602-9BFC-A1E37B2922E7}"/>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5" name="Arc 4">
            <a:extLst>
              <a:ext uri="{FF2B5EF4-FFF2-40B4-BE49-F238E27FC236}">
                <a16:creationId xmlns:a16="http://schemas.microsoft.com/office/drawing/2014/main" id="{A4DD121E-136B-4871-8807-5C218AE8C3E3}"/>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Arc 5">
            <a:extLst>
              <a:ext uri="{FF2B5EF4-FFF2-40B4-BE49-F238E27FC236}">
                <a16:creationId xmlns:a16="http://schemas.microsoft.com/office/drawing/2014/main" id="{5E8499EA-8490-4967-9CE4-A5E9B6E5B664}"/>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9" name="Text Placeholder 7">
            <a:extLst>
              <a:ext uri="{FF2B5EF4-FFF2-40B4-BE49-F238E27FC236}">
                <a16:creationId xmlns:a16="http://schemas.microsoft.com/office/drawing/2014/main" id="{7753AEA0-E832-4DD0-AF42-C2D5D2B489DC}"/>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0" name="Text Placeholder 7">
            <a:extLst>
              <a:ext uri="{FF2B5EF4-FFF2-40B4-BE49-F238E27FC236}">
                <a16:creationId xmlns:a16="http://schemas.microsoft.com/office/drawing/2014/main" id="{0255E1F4-C215-4653-BE87-6B45840716C6}"/>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1" name="Straight Connector 10">
            <a:extLst>
              <a:ext uri="{FF2B5EF4-FFF2-40B4-BE49-F238E27FC236}">
                <a16:creationId xmlns:a16="http://schemas.microsoft.com/office/drawing/2014/main" id="{A720D2F5-60FF-4FDB-97E7-64CCF3656074}"/>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C5E3B99C-0135-4A45-8170-F848DE464579}"/>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27183260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ith image - Green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57AB7F-6DDF-4EBC-A819-BDA128C9BF0B}"/>
              </a:ext>
            </a:extLst>
          </p:cNvPr>
          <p:cNvGraphicFramePr>
            <a:graphicFrameLocks noChangeAspect="1"/>
          </p:cNvGraphicFramePr>
          <p:nvPr userDrawn="1">
            <p:custDataLst>
              <p:tags r:id="rId1"/>
            </p:custDataLst>
            <p:extLst>
              <p:ext uri="{D42A27DB-BD31-4B8C-83A1-F6EECF244321}">
                <p14:modId xmlns:p14="http://schemas.microsoft.com/office/powerpoint/2010/main" val="215640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E257AB7F-6DDF-4EBC-A819-BDA128C9BF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tx2"/>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4" name="Text Placeholder 7">
            <a:extLst>
              <a:ext uri="{FF2B5EF4-FFF2-40B4-BE49-F238E27FC236}">
                <a16:creationId xmlns:a16="http://schemas.microsoft.com/office/drawing/2014/main" id="{75901F94-166C-407E-BFBB-67B1039B9EA7}"/>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5" name="Text Placeholder 7">
            <a:extLst>
              <a:ext uri="{FF2B5EF4-FFF2-40B4-BE49-F238E27FC236}">
                <a16:creationId xmlns:a16="http://schemas.microsoft.com/office/drawing/2014/main" id="{323C8D70-88BE-452B-B2FF-84905D6398AE}"/>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6" name="Arc 15">
            <a:extLst>
              <a:ext uri="{FF2B5EF4-FFF2-40B4-BE49-F238E27FC236}">
                <a16:creationId xmlns:a16="http://schemas.microsoft.com/office/drawing/2014/main" id="{D2A9C319-5DC6-4D25-8958-FF6AFBFC3332}"/>
              </a:ext>
            </a:extLst>
          </p:cNvPr>
          <p:cNvSpPr/>
          <p:nvPr userDrawn="1"/>
        </p:nvSpPr>
        <p:spPr>
          <a:xfrm flipH="1">
            <a:off x="918535" y="127859"/>
            <a:ext cx="5924448" cy="6014609"/>
          </a:xfrm>
          <a:prstGeom prst="arc">
            <a:avLst>
              <a:gd name="adj1" fmla="val 12418904"/>
              <a:gd name="adj2" fmla="val 14215629"/>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Arc 17">
            <a:extLst>
              <a:ext uri="{FF2B5EF4-FFF2-40B4-BE49-F238E27FC236}">
                <a16:creationId xmlns:a16="http://schemas.microsoft.com/office/drawing/2014/main" id="{C2C1FB0C-63CE-4BE9-874A-FE35053E391F}"/>
              </a:ext>
            </a:extLst>
          </p:cNvPr>
          <p:cNvSpPr/>
          <p:nvPr userDrawn="1"/>
        </p:nvSpPr>
        <p:spPr>
          <a:xfrm flipH="1">
            <a:off x="798792" y="241664"/>
            <a:ext cx="5924448" cy="6014609"/>
          </a:xfrm>
          <a:prstGeom prst="arc">
            <a:avLst>
              <a:gd name="adj1" fmla="val 10447157"/>
              <a:gd name="adj2" fmla="val 14215629"/>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9" name="Arc 18">
            <a:extLst>
              <a:ext uri="{FF2B5EF4-FFF2-40B4-BE49-F238E27FC236}">
                <a16:creationId xmlns:a16="http://schemas.microsoft.com/office/drawing/2014/main" id="{DE8EC139-56C8-443E-BED0-3C227CC216DE}"/>
              </a:ext>
            </a:extLst>
          </p:cNvPr>
          <p:cNvSpPr/>
          <p:nvPr userDrawn="1"/>
        </p:nvSpPr>
        <p:spPr>
          <a:xfrm rot="4897428">
            <a:off x="5703" y="2940186"/>
            <a:ext cx="3757420" cy="3594648"/>
          </a:xfrm>
          <a:prstGeom prst="arc">
            <a:avLst>
              <a:gd name="adj1" fmla="val 1819286"/>
              <a:gd name="adj2" fmla="val 3752534"/>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20" name="Rectangle 19">
            <a:extLst>
              <a:ext uri="{FF2B5EF4-FFF2-40B4-BE49-F238E27FC236}">
                <a16:creationId xmlns:a16="http://schemas.microsoft.com/office/drawing/2014/main" id="{400F168F-ED42-4ADC-AC46-98172580B45A}"/>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1289341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with image - Green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CD1001-5F96-4A27-92BF-BD87045FA5BE}"/>
              </a:ext>
            </a:extLst>
          </p:cNvPr>
          <p:cNvGraphicFramePr>
            <a:graphicFrameLocks noChangeAspect="1"/>
          </p:cNvGraphicFramePr>
          <p:nvPr userDrawn="1">
            <p:custDataLst>
              <p:tags r:id="rId1"/>
            </p:custDataLst>
            <p:extLst>
              <p:ext uri="{D42A27DB-BD31-4B8C-83A1-F6EECF244321}">
                <p14:modId xmlns:p14="http://schemas.microsoft.com/office/powerpoint/2010/main" val="3554624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C1CD1001-5F96-4A27-92BF-BD87045FA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sp>
        <p:nvSpPr>
          <p:cNvPr id="9" name="Text Placeholder 7">
            <a:extLst>
              <a:ext uri="{FF2B5EF4-FFF2-40B4-BE49-F238E27FC236}">
                <a16:creationId xmlns:a16="http://schemas.microsoft.com/office/drawing/2014/main" id="{9C430ED7-F932-42F7-832F-604F2ECDDA70}"/>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0" name="Text Placeholder 7">
            <a:extLst>
              <a:ext uri="{FF2B5EF4-FFF2-40B4-BE49-F238E27FC236}">
                <a16:creationId xmlns:a16="http://schemas.microsoft.com/office/drawing/2014/main" id="{F82293D6-7E9D-4526-A6D7-29B0B1A8A7A0}"/>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rgbClr val="66CC99"/>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rgbClr val="66CC99"/>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5" name="Arc 14">
            <a:extLst>
              <a:ext uri="{FF2B5EF4-FFF2-40B4-BE49-F238E27FC236}">
                <a16:creationId xmlns:a16="http://schemas.microsoft.com/office/drawing/2014/main" id="{8F11CF30-02BD-469C-80F6-6B3FB9713EB0}"/>
              </a:ext>
            </a:extLst>
          </p:cNvPr>
          <p:cNvSpPr/>
          <p:nvPr userDrawn="1"/>
        </p:nvSpPr>
        <p:spPr>
          <a:xfrm flipH="1">
            <a:off x="5682346" y="402777"/>
            <a:ext cx="6261904" cy="6159595"/>
          </a:xfrm>
          <a:prstGeom prst="arc">
            <a:avLst>
              <a:gd name="adj1" fmla="val 17901590"/>
              <a:gd name="adj2" fmla="val 19739785"/>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8673FB5C-3E4C-4F59-B132-1117A3A7A0A9}"/>
              </a:ext>
            </a:extLst>
          </p:cNvPr>
          <p:cNvSpPr/>
          <p:nvPr userDrawn="1"/>
        </p:nvSpPr>
        <p:spPr>
          <a:xfrm flipH="1">
            <a:off x="5797951" y="493334"/>
            <a:ext cx="6102757" cy="6014609"/>
          </a:xfrm>
          <a:prstGeom prst="arc">
            <a:avLst>
              <a:gd name="adj1" fmla="val 17878140"/>
              <a:gd name="adj2" fmla="val 254863"/>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2F1BA55D-4BB6-4FB2-9BE6-179E98D86D60}"/>
              </a:ext>
            </a:extLst>
          </p:cNvPr>
          <p:cNvSpPr/>
          <p:nvPr userDrawn="1"/>
        </p:nvSpPr>
        <p:spPr>
          <a:xfrm rot="4897428">
            <a:off x="8431510" y="3081640"/>
            <a:ext cx="3757420" cy="3594648"/>
          </a:xfrm>
          <a:prstGeom prst="arc">
            <a:avLst>
              <a:gd name="adj1" fmla="val 18621937"/>
              <a:gd name="adj2" fmla="val 20638078"/>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1F835F81-9557-4E69-A517-F54680822C79}"/>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457319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with image - Blue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96797A-A181-407E-84EB-94D8284D66C0}"/>
              </a:ext>
            </a:extLst>
          </p:cNvPr>
          <p:cNvGraphicFramePr>
            <a:graphicFrameLocks noChangeAspect="1"/>
          </p:cNvGraphicFramePr>
          <p:nvPr userDrawn="1">
            <p:custDataLst>
              <p:tags r:id="rId1"/>
            </p:custDataLst>
            <p:extLst>
              <p:ext uri="{D42A27DB-BD31-4B8C-83A1-F6EECF244321}">
                <p14:modId xmlns:p14="http://schemas.microsoft.com/office/powerpoint/2010/main" val="147776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7D96797A-A181-407E-84EB-94D8284D66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sp>
        <p:nvSpPr>
          <p:cNvPr id="9" name="Text Placeholder 7">
            <a:extLst>
              <a:ext uri="{FF2B5EF4-FFF2-40B4-BE49-F238E27FC236}">
                <a16:creationId xmlns:a16="http://schemas.microsoft.com/office/drawing/2014/main" id="{27214A22-3D9A-4C16-9208-5E45A529FEA9}"/>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0" name="Text Placeholder 7">
            <a:extLst>
              <a:ext uri="{FF2B5EF4-FFF2-40B4-BE49-F238E27FC236}">
                <a16:creationId xmlns:a16="http://schemas.microsoft.com/office/drawing/2014/main" id="{EB5092C0-A9E8-4169-8948-13F47F0D601F}"/>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accent3"/>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5" name="Arc 14">
            <a:extLst>
              <a:ext uri="{FF2B5EF4-FFF2-40B4-BE49-F238E27FC236}">
                <a16:creationId xmlns:a16="http://schemas.microsoft.com/office/drawing/2014/main" id="{AB5ABABD-74B0-4E65-B407-C340E800DF44}"/>
              </a:ext>
            </a:extLst>
          </p:cNvPr>
          <p:cNvSpPr/>
          <p:nvPr userDrawn="1"/>
        </p:nvSpPr>
        <p:spPr>
          <a:xfrm flipH="1">
            <a:off x="918535" y="127859"/>
            <a:ext cx="5924448" cy="6014609"/>
          </a:xfrm>
          <a:prstGeom prst="arc">
            <a:avLst>
              <a:gd name="adj1" fmla="val 12418904"/>
              <a:gd name="adj2" fmla="val 14215629"/>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CE54408F-CE03-4C7C-BCD9-69857223C906}"/>
              </a:ext>
            </a:extLst>
          </p:cNvPr>
          <p:cNvSpPr/>
          <p:nvPr userDrawn="1"/>
        </p:nvSpPr>
        <p:spPr>
          <a:xfrm flipH="1">
            <a:off x="798792" y="241664"/>
            <a:ext cx="5924448" cy="6014609"/>
          </a:xfrm>
          <a:prstGeom prst="arc">
            <a:avLst>
              <a:gd name="adj1" fmla="val 10447157"/>
              <a:gd name="adj2" fmla="val 14215629"/>
            </a:avLst>
          </a:prstGeom>
          <a:ln w="95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5ECD472A-E6D1-4444-A994-5D70B9CC6A8B}"/>
              </a:ext>
            </a:extLst>
          </p:cNvPr>
          <p:cNvSpPr/>
          <p:nvPr userDrawn="1"/>
        </p:nvSpPr>
        <p:spPr>
          <a:xfrm rot="4897428">
            <a:off x="5703" y="2940186"/>
            <a:ext cx="3757420" cy="3594648"/>
          </a:xfrm>
          <a:prstGeom prst="arc">
            <a:avLst>
              <a:gd name="adj1" fmla="val 1819286"/>
              <a:gd name="adj2" fmla="val 3752534"/>
            </a:avLst>
          </a:prstGeom>
          <a:ln w="571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082C6FF3-84D1-48EC-AECF-E8E0C2D79F5B}"/>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471908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with image - Blue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FE6532-2496-45B6-A846-3C841702A58D}"/>
              </a:ext>
            </a:extLst>
          </p:cNvPr>
          <p:cNvGraphicFramePr>
            <a:graphicFrameLocks noChangeAspect="1"/>
          </p:cNvGraphicFramePr>
          <p:nvPr userDrawn="1">
            <p:custDataLst>
              <p:tags r:id="rId1"/>
            </p:custDataLst>
            <p:extLst>
              <p:ext uri="{D42A27DB-BD31-4B8C-83A1-F6EECF244321}">
                <p14:modId xmlns:p14="http://schemas.microsoft.com/office/powerpoint/2010/main" val="1470526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F9FE6532-2496-45B6-A846-3C841702A5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chemeClr val="accent3"/>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223D932F-014D-482F-B3D8-5339B9B3DAC8}"/>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260AEEAB-4780-4D46-A451-6C5A7BACBE8E}"/>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104CBE78-6FFA-4E60-87E8-B02AFFC815E8}"/>
              </a:ext>
            </a:extLst>
          </p:cNvPr>
          <p:cNvSpPr/>
          <p:nvPr userDrawn="1"/>
        </p:nvSpPr>
        <p:spPr>
          <a:xfrm flipH="1">
            <a:off x="5682346" y="402777"/>
            <a:ext cx="6261904" cy="6159595"/>
          </a:xfrm>
          <a:prstGeom prst="arc">
            <a:avLst>
              <a:gd name="adj1" fmla="val 17901590"/>
              <a:gd name="adj2" fmla="val 19739785"/>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0FCDA8B5-5B0E-447E-BC24-7822935709AA}"/>
              </a:ext>
            </a:extLst>
          </p:cNvPr>
          <p:cNvSpPr/>
          <p:nvPr userDrawn="1"/>
        </p:nvSpPr>
        <p:spPr>
          <a:xfrm flipH="1">
            <a:off x="5797951" y="493334"/>
            <a:ext cx="6102757" cy="6014609"/>
          </a:xfrm>
          <a:prstGeom prst="arc">
            <a:avLst>
              <a:gd name="adj1" fmla="val 17878140"/>
              <a:gd name="adj2" fmla="val 254863"/>
            </a:avLst>
          </a:prstGeom>
          <a:ln w="95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BB8D3BA7-2959-4299-BB90-3D7E1E167DE8}"/>
              </a:ext>
            </a:extLst>
          </p:cNvPr>
          <p:cNvSpPr/>
          <p:nvPr userDrawn="1"/>
        </p:nvSpPr>
        <p:spPr>
          <a:xfrm rot="4897428">
            <a:off x="8431510" y="3081640"/>
            <a:ext cx="3757420" cy="3594648"/>
          </a:xfrm>
          <a:prstGeom prst="arc">
            <a:avLst>
              <a:gd name="adj1" fmla="val 18621937"/>
              <a:gd name="adj2" fmla="val 20638078"/>
            </a:avLst>
          </a:prstGeom>
          <a:ln w="571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6A262AAF-282A-40DA-B148-566262CC6DF9}"/>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1818817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er with image - Grey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EE3FC0-43AB-45CC-94DC-0E751697DBB3}"/>
              </a:ext>
            </a:extLst>
          </p:cNvPr>
          <p:cNvGraphicFramePr>
            <a:graphicFrameLocks noChangeAspect="1"/>
          </p:cNvGraphicFramePr>
          <p:nvPr userDrawn="1">
            <p:custDataLst>
              <p:tags r:id="rId1"/>
            </p:custDataLst>
            <p:extLst>
              <p:ext uri="{D42A27DB-BD31-4B8C-83A1-F6EECF244321}">
                <p14:modId xmlns:p14="http://schemas.microsoft.com/office/powerpoint/2010/main" val="2374918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87EE3FC0-43AB-45CC-94DC-0E751697DB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bg2"/>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D74A208A-6DEC-48DF-B81C-38329753BE62}"/>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96A37F86-E405-43D2-BD90-1FBBBC40BB33}"/>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B2EBA6CA-F1D8-44CB-BD6F-089B3AF45D98}"/>
              </a:ext>
            </a:extLst>
          </p:cNvPr>
          <p:cNvSpPr/>
          <p:nvPr userDrawn="1"/>
        </p:nvSpPr>
        <p:spPr>
          <a:xfrm flipH="1">
            <a:off x="918535" y="127859"/>
            <a:ext cx="5924448" cy="6014609"/>
          </a:xfrm>
          <a:prstGeom prst="arc">
            <a:avLst>
              <a:gd name="adj1" fmla="val 12418904"/>
              <a:gd name="adj2" fmla="val 14215629"/>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65223D66-3960-4EFE-B8F5-F2503E79880F}"/>
              </a:ext>
            </a:extLst>
          </p:cNvPr>
          <p:cNvSpPr/>
          <p:nvPr userDrawn="1"/>
        </p:nvSpPr>
        <p:spPr>
          <a:xfrm flipH="1">
            <a:off x="798792" y="241664"/>
            <a:ext cx="5924448" cy="6014609"/>
          </a:xfrm>
          <a:prstGeom prst="arc">
            <a:avLst>
              <a:gd name="adj1" fmla="val 10447157"/>
              <a:gd name="adj2" fmla="val 14215629"/>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14C3B8AF-F46E-4ED2-8001-5073A67D8288}"/>
              </a:ext>
            </a:extLst>
          </p:cNvPr>
          <p:cNvSpPr/>
          <p:nvPr userDrawn="1"/>
        </p:nvSpPr>
        <p:spPr>
          <a:xfrm rot="4897428">
            <a:off x="5703" y="2940186"/>
            <a:ext cx="3757420" cy="3594648"/>
          </a:xfrm>
          <a:prstGeom prst="arc">
            <a:avLst>
              <a:gd name="adj1" fmla="val 1819286"/>
              <a:gd name="adj2" fmla="val 3752534"/>
            </a:avLst>
          </a:prstGeom>
          <a:ln w="571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0E9E70C8-A3AB-41C8-AB47-44BE84212710}"/>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4234268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with image - Grey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572172-B803-41F9-9519-AB7C5FD49E19}"/>
              </a:ext>
            </a:extLst>
          </p:cNvPr>
          <p:cNvGraphicFramePr>
            <a:graphicFrameLocks noChangeAspect="1"/>
          </p:cNvGraphicFramePr>
          <p:nvPr userDrawn="1">
            <p:custDataLst>
              <p:tags r:id="rId1"/>
            </p:custDataLst>
            <p:extLst>
              <p:ext uri="{D42A27DB-BD31-4B8C-83A1-F6EECF244321}">
                <p14:modId xmlns:p14="http://schemas.microsoft.com/office/powerpoint/2010/main" val="2317085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BB572172-B803-41F9-9519-AB7C5FD49E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chemeClr val="bg2"/>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C442F4F6-05FA-4545-9442-2E7F386CB9A7}"/>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0BF489C5-9A89-40FA-926F-B3E5D513197A}"/>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384A9403-B043-4C79-8C3D-9AA0C64ABF29}"/>
              </a:ext>
            </a:extLst>
          </p:cNvPr>
          <p:cNvSpPr/>
          <p:nvPr userDrawn="1"/>
        </p:nvSpPr>
        <p:spPr>
          <a:xfrm flipH="1">
            <a:off x="5682346" y="402777"/>
            <a:ext cx="6261904" cy="6159595"/>
          </a:xfrm>
          <a:prstGeom prst="arc">
            <a:avLst>
              <a:gd name="adj1" fmla="val 17901590"/>
              <a:gd name="adj2" fmla="val 19739785"/>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2FA90AD7-BFAA-46F0-A643-86558B617223}"/>
              </a:ext>
            </a:extLst>
          </p:cNvPr>
          <p:cNvSpPr/>
          <p:nvPr userDrawn="1"/>
        </p:nvSpPr>
        <p:spPr>
          <a:xfrm flipH="1">
            <a:off x="5797951" y="493334"/>
            <a:ext cx="6102757" cy="6014609"/>
          </a:xfrm>
          <a:prstGeom prst="arc">
            <a:avLst>
              <a:gd name="adj1" fmla="val 17878140"/>
              <a:gd name="adj2" fmla="val 254863"/>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8052D7FE-67FE-40DD-844E-E5BBA5FE6528}"/>
              </a:ext>
            </a:extLst>
          </p:cNvPr>
          <p:cNvSpPr/>
          <p:nvPr userDrawn="1"/>
        </p:nvSpPr>
        <p:spPr>
          <a:xfrm rot="4897428">
            <a:off x="8431510" y="3081640"/>
            <a:ext cx="3757420" cy="3594648"/>
          </a:xfrm>
          <a:prstGeom prst="arc">
            <a:avLst>
              <a:gd name="adj1" fmla="val 18621937"/>
              <a:gd name="adj2" fmla="val 20638078"/>
            </a:avLst>
          </a:prstGeom>
          <a:ln w="571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00560540-78E4-46E1-A167-EB9CD3CD17BB}"/>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7951174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with image - Yellow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5D36B7-F228-4A65-B6A3-B83815C31C0B}"/>
              </a:ext>
            </a:extLst>
          </p:cNvPr>
          <p:cNvGraphicFramePr>
            <a:graphicFrameLocks noChangeAspect="1"/>
          </p:cNvGraphicFramePr>
          <p:nvPr userDrawn="1">
            <p:custDataLst>
              <p:tags r:id="rId1"/>
            </p:custDataLst>
            <p:extLst>
              <p:ext uri="{D42A27DB-BD31-4B8C-83A1-F6EECF244321}">
                <p14:modId xmlns:p14="http://schemas.microsoft.com/office/powerpoint/2010/main" val="264981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035D36B7-F228-4A65-B6A3-B83815C31C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accent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99E841DA-26E1-4F5F-977B-400BA9FA5A20}"/>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D9532373-225D-4C87-937F-0A6BEADB436F}"/>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B800C4E5-CEA5-4902-AD35-29D64DD3ABB3}"/>
              </a:ext>
            </a:extLst>
          </p:cNvPr>
          <p:cNvSpPr/>
          <p:nvPr userDrawn="1"/>
        </p:nvSpPr>
        <p:spPr>
          <a:xfrm flipH="1">
            <a:off x="918535" y="127859"/>
            <a:ext cx="5924448" cy="6014609"/>
          </a:xfrm>
          <a:prstGeom prst="arc">
            <a:avLst>
              <a:gd name="adj1" fmla="val 12418904"/>
              <a:gd name="adj2" fmla="val 14215629"/>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C40CA3F7-4763-4D71-9465-6729461CE939}"/>
              </a:ext>
            </a:extLst>
          </p:cNvPr>
          <p:cNvSpPr/>
          <p:nvPr userDrawn="1"/>
        </p:nvSpPr>
        <p:spPr>
          <a:xfrm flipH="1">
            <a:off x="798792" y="241664"/>
            <a:ext cx="5924448" cy="6014609"/>
          </a:xfrm>
          <a:prstGeom prst="arc">
            <a:avLst>
              <a:gd name="adj1" fmla="val 10447157"/>
              <a:gd name="adj2" fmla="val 14215629"/>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2271616B-48DF-4F95-81E0-98553403C903}"/>
              </a:ext>
            </a:extLst>
          </p:cNvPr>
          <p:cNvSpPr/>
          <p:nvPr userDrawn="1"/>
        </p:nvSpPr>
        <p:spPr>
          <a:xfrm rot="4897428">
            <a:off x="5703" y="2940186"/>
            <a:ext cx="3757420" cy="3594648"/>
          </a:xfrm>
          <a:prstGeom prst="arc">
            <a:avLst>
              <a:gd name="adj1" fmla="val 1819286"/>
              <a:gd name="adj2" fmla="val 3752534"/>
            </a:avLst>
          </a:prstGeom>
          <a:ln w="571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6F2AA79D-E7C6-4445-AC7F-AB125CC92B9C}"/>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0625023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multiple imag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FD5670-0F6B-4120-AA51-2223A903C8C0}"/>
              </a:ext>
            </a:extLst>
          </p:cNvPr>
          <p:cNvGraphicFramePr>
            <a:graphicFrameLocks noChangeAspect="1"/>
          </p:cNvGraphicFramePr>
          <p:nvPr userDrawn="1">
            <p:custDataLst>
              <p:tags r:id="rId1"/>
            </p:custDataLst>
            <p:extLst>
              <p:ext uri="{D42A27DB-BD31-4B8C-83A1-F6EECF244321}">
                <p14:modId xmlns:p14="http://schemas.microsoft.com/office/powerpoint/2010/main" val="285977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CEFD5670-0F6B-4120-AA51-2223A903C8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3"/>
          <p:cNvSpPr>
            <a:spLocks noGrp="1"/>
          </p:cNvSpPr>
          <p:nvPr>
            <p:ph type="title" hasCustomPrompt="1"/>
          </p:nvPr>
        </p:nvSpPr>
        <p:spPr>
          <a:xfrm>
            <a:off x="535027" y="1733378"/>
            <a:ext cx="4209193" cy="1345782"/>
          </a:xfrm>
          <a:prstGeom prst="rect">
            <a:avLst/>
          </a:prstGeom>
          <a:solidFill>
            <a:srgbClr val="FFFFFF">
              <a:alpha val="18039"/>
            </a:srgbClr>
          </a:solidFill>
        </p:spPr>
        <p:txBody>
          <a:bodyPr vert="horz" anchor="ctr"/>
          <a:lstStyle>
            <a:lvl1pPr rtl="0">
              <a:defRPr cap="all" baseline="0">
                <a:solidFill>
                  <a:schemeClr val="tx1"/>
                </a:solidFill>
                <a:latin typeface="+mn-lt"/>
              </a:defRPr>
            </a:lvl1pPr>
          </a:lstStyle>
          <a:p>
            <a:r>
              <a:rPr lang="en-US" dirty="0"/>
              <a:t>Title</a:t>
            </a:r>
          </a:p>
        </p:txBody>
      </p:sp>
      <p:sp>
        <p:nvSpPr>
          <p:cNvPr id="7" name="Text Placeholder 6">
            <a:extLst>
              <a:ext uri="{FF2B5EF4-FFF2-40B4-BE49-F238E27FC236}">
                <a16:creationId xmlns:a16="http://schemas.microsoft.com/office/drawing/2014/main" id="{A59AAB0E-FF1A-46D0-92FA-24F4C3230641}"/>
              </a:ext>
            </a:extLst>
          </p:cNvPr>
          <p:cNvSpPr>
            <a:spLocks noGrp="1"/>
          </p:cNvSpPr>
          <p:nvPr>
            <p:ph type="body" sz="quarter" idx="11" hasCustomPrompt="1"/>
          </p:nvPr>
        </p:nvSpPr>
        <p:spPr>
          <a:xfrm>
            <a:off x="535027" y="3778250"/>
            <a:ext cx="4208463" cy="458787"/>
          </a:xfrm>
          <a:prstGeom prst="rect">
            <a:avLst/>
          </a:prstGeom>
        </p:spPr>
        <p:txBody>
          <a:bodyPr/>
          <a:lstStyle>
            <a:lvl1pPr marL="0" indent="0" rtl="0">
              <a:buNone/>
              <a:defRPr sz="2400" b="1">
                <a:solidFill>
                  <a:schemeClr val="tx1"/>
                </a:solidFill>
              </a:defRPr>
            </a:lvl1pPr>
          </a:lstStyle>
          <a:p>
            <a:pPr lvl="0"/>
            <a:r>
              <a:rPr lang="en-US" dirty="0"/>
              <a:t>Subtitle</a:t>
            </a:r>
          </a:p>
        </p:txBody>
      </p:sp>
      <p:cxnSp>
        <p:nvCxnSpPr>
          <p:cNvPr id="9" name="Straight Connector 8">
            <a:extLst>
              <a:ext uri="{FF2B5EF4-FFF2-40B4-BE49-F238E27FC236}">
                <a16:creationId xmlns:a16="http://schemas.microsoft.com/office/drawing/2014/main" id="{92E302C7-A93F-4991-A37F-39463C755350}"/>
              </a:ext>
            </a:extLst>
          </p:cNvPr>
          <p:cNvCxnSpPr/>
          <p:nvPr userDrawn="1"/>
        </p:nvCxnSpPr>
        <p:spPr>
          <a:xfrm>
            <a:off x="701722" y="3179857"/>
            <a:ext cx="42308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379DE25-8C83-4534-B8E6-4F0F95EC54D0}"/>
              </a:ext>
            </a:extLst>
          </p:cNvPr>
          <p:cNvSpPr/>
          <p:nvPr userDrawn="1"/>
        </p:nvSpPr>
        <p:spPr>
          <a:xfrm>
            <a:off x="12232944" y="0"/>
            <a:ext cx="1828800" cy="1828800"/>
          </a:xfrm>
          <a:prstGeom prst="ellipse">
            <a:avLst/>
          </a:prstGeom>
          <a:solidFill>
            <a:srgbClr val="66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2" name="Oval 11">
            <a:extLst>
              <a:ext uri="{FF2B5EF4-FFF2-40B4-BE49-F238E27FC236}">
                <a16:creationId xmlns:a16="http://schemas.microsoft.com/office/drawing/2014/main" id="{737E4B51-4D9A-4F2C-BA28-148F5D4FFACD}"/>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3" name="Oval 12">
            <a:extLst>
              <a:ext uri="{FF2B5EF4-FFF2-40B4-BE49-F238E27FC236}">
                <a16:creationId xmlns:a16="http://schemas.microsoft.com/office/drawing/2014/main" id="{9BF335E9-83B1-487C-8F60-43EB86A6E499}"/>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4" name="Oval 13">
            <a:extLst>
              <a:ext uri="{FF2B5EF4-FFF2-40B4-BE49-F238E27FC236}">
                <a16:creationId xmlns:a16="http://schemas.microsoft.com/office/drawing/2014/main" id="{D35228B6-DD05-4EFC-BD4C-F018DFC6CEB4}"/>
              </a:ext>
            </a:extLst>
          </p:cNvPr>
          <p:cNvSpPr/>
          <p:nvPr userDrawn="1"/>
        </p:nvSpPr>
        <p:spPr>
          <a:xfrm>
            <a:off x="13222752" y="2951362"/>
            <a:ext cx="905164" cy="905164"/>
          </a:xfrm>
          <a:prstGeom prst="ellipse">
            <a:avLst/>
          </a:prstGeom>
          <a:solidFill>
            <a:srgbClr val="99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16" name="Picture Placeholder 3">
            <a:extLst>
              <a:ext uri="{FF2B5EF4-FFF2-40B4-BE49-F238E27FC236}">
                <a16:creationId xmlns:a16="http://schemas.microsoft.com/office/drawing/2014/main" id="{BA9BE136-9D86-403F-A3E9-99C61B909ACD}"/>
              </a:ext>
            </a:extLst>
          </p:cNvPr>
          <p:cNvSpPr>
            <a:spLocks noGrp="1"/>
          </p:cNvSpPr>
          <p:nvPr>
            <p:ph type="pic" sz="quarter" idx="10"/>
          </p:nvPr>
        </p:nvSpPr>
        <p:spPr>
          <a:xfrm>
            <a:off x="4938730" y="65325"/>
            <a:ext cx="6033769" cy="6027670"/>
          </a:xfrm>
          <a:prstGeom prst="ellipse">
            <a:avLst/>
          </a:prstGeom>
        </p:spPr>
        <p:txBody>
          <a:bodyPr/>
          <a:lstStyle/>
          <a:p>
            <a:endParaRPr lang="en-US"/>
          </a:p>
        </p:txBody>
      </p:sp>
      <p:sp>
        <p:nvSpPr>
          <p:cNvPr id="17" name="Oval 16">
            <a:extLst>
              <a:ext uri="{FF2B5EF4-FFF2-40B4-BE49-F238E27FC236}">
                <a16:creationId xmlns:a16="http://schemas.microsoft.com/office/drawing/2014/main" id="{164DE77B-04FF-4E09-B0AC-474F4A354143}"/>
              </a:ext>
            </a:extLst>
          </p:cNvPr>
          <p:cNvSpPr/>
          <p:nvPr userDrawn="1"/>
        </p:nvSpPr>
        <p:spPr>
          <a:xfrm>
            <a:off x="8727052" y="3403944"/>
            <a:ext cx="3445340" cy="3298912"/>
          </a:xfrm>
          <a:prstGeom prst="ellipse">
            <a:avLst/>
          </a:prstGeom>
          <a:noFill/>
          <a:ln w="12700">
            <a:solidFill>
              <a:srgbClr val="66CC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8" name="Picture Placeholder 3">
            <a:extLst>
              <a:ext uri="{FF2B5EF4-FFF2-40B4-BE49-F238E27FC236}">
                <a16:creationId xmlns:a16="http://schemas.microsoft.com/office/drawing/2014/main" id="{763D3DED-4579-443F-ADBA-4825982437CE}"/>
              </a:ext>
            </a:extLst>
          </p:cNvPr>
          <p:cNvSpPr>
            <a:spLocks noGrp="1"/>
          </p:cNvSpPr>
          <p:nvPr>
            <p:ph type="pic" sz="quarter" idx="12"/>
          </p:nvPr>
        </p:nvSpPr>
        <p:spPr>
          <a:xfrm>
            <a:off x="8750494" y="3568711"/>
            <a:ext cx="3137317" cy="3134145"/>
          </a:xfrm>
          <a:prstGeom prst="ellipse">
            <a:avLst/>
          </a:prstGeom>
        </p:spPr>
        <p:txBody>
          <a:bodyPr/>
          <a:lstStyle/>
          <a:p>
            <a:endParaRPr lang="en-US"/>
          </a:p>
        </p:txBody>
      </p:sp>
      <p:sp>
        <p:nvSpPr>
          <p:cNvPr id="20" name="Oval 19">
            <a:extLst>
              <a:ext uri="{FF2B5EF4-FFF2-40B4-BE49-F238E27FC236}">
                <a16:creationId xmlns:a16="http://schemas.microsoft.com/office/drawing/2014/main" id="{7F15BFCC-702B-4419-89F3-17A25A73AB79}"/>
              </a:ext>
            </a:extLst>
          </p:cNvPr>
          <p:cNvSpPr/>
          <p:nvPr userDrawn="1"/>
        </p:nvSpPr>
        <p:spPr>
          <a:xfrm>
            <a:off x="4654149" y="228194"/>
            <a:ext cx="6165356" cy="5903326"/>
          </a:xfrm>
          <a:prstGeom prst="ellipse">
            <a:avLst/>
          </a:prstGeom>
          <a:noFill/>
          <a:ln w="1270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1" name="Rectangle 20">
            <a:extLst>
              <a:ext uri="{FF2B5EF4-FFF2-40B4-BE49-F238E27FC236}">
                <a16:creationId xmlns:a16="http://schemas.microsoft.com/office/drawing/2014/main" id="{0F6194EB-0490-4B02-8B1D-877AE3264BEF}"/>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
        <p:nvSpPr>
          <p:cNvPr id="15" name="Text Placeholder 6">
            <a:extLst>
              <a:ext uri="{FF2B5EF4-FFF2-40B4-BE49-F238E27FC236}">
                <a16:creationId xmlns:a16="http://schemas.microsoft.com/office/drawing/2014/main" id="{E811B309-37EF-48B0-92F9-1AA7265DA4E7}"/>
              </a:ext>
            </a:extLst>
          </p:cNvPr>
          <p:cNvSpPr>
            <a:spLocks noGrp="1"/>
          </p:cNvSpPr>
          <p:nvPr>
            <p:ph type="body" sz="quarter" idx="13" hasCustomPrompt="1"/>
          </p:nvPr>
        </p:nvSpPr>
        <p:spPr>
          <a:xfrm>
            <a:off x="535027" y="4496098"/>
            <a:ext cx="4308793" cy="458787"/>
          </a:xfrm>
          <a:prstGeom prst="rect">
            <a:avLst/>
          </a:prstGeom>
        </p:spPr>
        <p:txBody>
          <a:bodyPr/>
          <a:lstStyle>
            <a:lvl1pPr marL="0" indent="0" rtl="0">
              <a:buNone/>
              <a:defRPr sz="1600" b="0">
                <a:solidFill>
                  <a:schemeClr val="bg2"/>
                </a:solidFill>
              </a:defRPr>
            </a:lvl1pPr>
          </a:lstStyle>
          <a:p>
            <a:pPr lvl="0"/>
            <a:r>
              <a:rPr lang="en-US" dirty="0"/>
              <a:t>Date</a:t>
            </a:r>
          </a:p>
        </p:txBody>
      </p:sp>
    </p:spTree>
    <p:extLst>
      <p:ext uri="{BB962C8B-B14F-4D97-AF65-F5344CB8AC3E}">
        <p14:creationId xmlns:p14="http://schemas.microsoft.com/office/powerpoint/2010/main" val="4062877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8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with image - Yellow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95F55-6FDD-4C0A-9892-B26DD5EFA53B}"/>
              </a:ext>
            </a:extLst>
          </p:cNvPr>
          <p:cNvGraphicFramePr>
            <a:graphicFrameLocks noChangeAspect="1"/>
          </p:cNvGraphicFramePr>
          <p:nvPr userDrawn="1">
            <p:custDataLst>
              <p:tags r:id="rId1"/>
            </p:custDataLst>
            <p:extLst>
              <p:ext uri="{D42A27DB-BD31-4B8C-83A1-F6EECF244321}">
                <p14:modId xmlns:p14="http://schemas.microsoft.com/office/powerpoint/2010/main" val="3369956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72795F55-6FDD-4C0A-9892-B26DD5EFA5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chemeClr val="accent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75F6083B-C879-442B-885F-DED33A7B157C}"/>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B135B3BC-CF64-4A4B-B490-82D90FF0A06E}"/>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19E59F6A-7A4F-46C4-8B3A-DD32BACBAF59}"/>
              </a:ext>
            </a:extLst>
          </p:cNvPr>
          <p:cNvSpPr/>
          <p:nvPr userDrawn="1"/>
        </p:nvSpPr>
        <p:spPr>
          <a:xfrm flipH="1">
            <a:off x="5682346" y="402777"/>
            <a:ext cx="6261904" cy="6159595"/>
          </a:xfrm>
          <a:prstGeom prst="arc">
            <a:avLst>
              <a:gd name="adj1" fmla="val 17901590"/>
              <a:gd name="adj2" fmla="val 19739785"/>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7A33B73E-6B27-4681-88B6-FD257CB62387}"/>
              </a:ext>
            </a:extLst>
          </p:cNvPr>
          <p:cNvSpPr/>
          <p:nvPr userDrawn="1"/>
        </p:nvSpPr>
        <p:spPr>
          <a:xfrm flipH="1">
            <a:off x="5797951" y="493334"/>
            <a:ext cx="6102757" cy="6014609"/>
          </a:xfrm>
          <a:prstGeom prst="arc">
            <a:avLst>
              <a:gd name="adj1" fmla="val 17878140"/>
              <a:gd name="adj2" fmla="val 254863"/>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8AF219DC-599C-459F-AA73-23DC14096EFC}"/>
              </a:ext>
            </a:extLst>
          </p:cNvPr>
          <p:cNvSpPr/>
          <p:nvPr userDrawn="1"/>
        </p:nvSpPr>
        <p:spPr>
          <a:xfrm rot="4897428">
            <a:off x="8431510" y="3081640"/>
            <a:ext cx="3757420" cy="3594648"/>
          </a:xfrm>
          <a:prstGeom prst="arc">
            <a:avLst>
              <a:gd name="adj1" fmla="val 18621937"/>
              <a:gd name="adj2" fmla="val 20638078"/>
            </a:avLst>
          </a:prstGeom>
          <a:ln w="571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18DD6AF5-F80B-4ABA-9134-673A86CF2EBB}"/>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34345369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with image - Black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A6E41C-FE36-4426-A36F-909A6E723557}"/>
              </a:ext>
            </a:extLst>
          </p:cNvPr>
          <p:cNvGraphicFramePr>
            <a:graphicFrameLocks noChangeAspect="1"/>
          </p:cNvGraphicFramePr>
          <p:nvPr userDrawn="1">
            <p:custDataLst>
              <p:tags r:id="rId1"/>
            </p:custDataLst>
            <p:extLst>
              <p:ext uri="{D42A27DB-BD31-4B8C-83A1-F6EECF244321}">
                <p14:modId xmlns:p14="http://schemas.microsoft.com/office/powerpoint/2010/main" val="3901627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A0A6E41C-FE36-4426-A36F-909A6E7235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FEA39D21-1024-4CE9-99CD-840EE3ABF299}"/>
              </a:ext>
            </a:extLst>
          </p:cNvPr>
          <p:cNvSpPr>
            <a:spLocks noGrp="1"/>
          </p:cNvSpPr>
          <p:nvPr>
            <p:ph type="pic" sz="quarter" idx="10"/>
          </p:nvPr>
        </p:nvSpPr>
        <p:spPr>
          <a:xfrm>
            <a:off x="304802" y="451618"/>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90C9285A-639E-46F3-AF75-747C32EA4BB8}"/>
              </a:ext>
            </a:extLst>
          </p:cNvPr>
          <p:cNvCxnSpPr>
            <a:cxnSpLocks/>
          </p:cNvCxnSpPr>
          <p:nvPr userDrawn="1"/>
        </p:nvCxnSpPr>
        <p:spPr>
          <a:xfrm>
            <a:off x="11092541" y="3429000"/>
            <a:ext cx="794657" cy="0"/>
          </a:xfrm>
          <a:prstGeom prst="line">
            <a:avLst/>
          </a:prstGeom>
          <a:ln w="889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0809E568-2108-44E2-9A0C-86CBC3B8149D}"/>
              </a:ext>
            </a:extLst>
          </p:cNvPr>
          <p:cNvSpPr>
            <a:spLocks noGrp="1"/>
          </p:cNvSpPr>
          <p:nvPr>
            <p:ph type="body" sz="quarter" idx="13" hasCustomPrompt="1"/>
          </p:nvPr>
        </p:nvSpPr>
        <p:spPr>
          <a:xfrm>
            <a:off x="10297886" y="391772"/>
            <a:ext cx="1589312" cy="642371"/>
          </a:xfrm>
          <a:prstGeom prst="rect">
            <a:avLst/>
          </a:prstGeom>
        </p:spPr>
        <p:txBody>
          <a:bodyPr/>
          <a:lstStyle>
            <a:lvl1pPr marL="0" indent="0" algn="r" rtl="0">
              <a:buNone/>
              <a:defRPr sz="5400" b="0" cap="all" baseline="0">
                <a:solidFill>
                  <a:schemeClr val="tx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2F7900AA-85D8-43F1-AEDB-30986D2BB625}"/>
              </a:ext>
            </a:extLst>
          </p:cNvPr>
          <p:cNvSpPr>
            <a:spLocks noGrp="1"/>
          </p:cNvSpPr>
          <p:nvPr>
            <p:ph type="body" sz="quarter" idx="11" hasCustomPrompt="1"/>
          </p:nvPr>
        </p:nvSpPr>
        <p:spPr>
          <a:xfrm>
            <a:off x="7184572" y="1708831"/>
            <a:ext cx="4702625" cy="1524226"/>
          </a:xfrm>
          <a:prstGeom prst="rect">
            <a:avLst/>
          </a:prstGeom>
        </p:spPr>
        <p:txBody>
          <a:bodyPr anchor="b"/>
          <a:lstStyle>
            <a:lvl1pPr marL="0" indent="0" algn="r" rtl="0">
              <a:buNone/>
              <a:defRPr sz="3600" cap="all" baseline="0">
                <a:solidFill>
                  <a:schemeClr val="tx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81345887-E979-4387-A6AB-00F3CA8C2542}"/>
              </a:ext>
            </a:extLst>
          </p:cNvPr>
          <p:cNvSpPr>
            <a:spLocks noGrp="1"/>
          </p:cNvSpPr>
          <p:nvPr>
            <p:ph type="body" sz="quarter" idx="12" hasCustomPrompt="1"/>
          </p:nvPr>
        </p:nvSpPr>
        <p:spPr>
          <a:xfrm>
            <a:off x="7456714" y="4179889"/>
            <a:ext cx="4430484" cy="1524226"/>
          </a:xfrm>
          <a:prstGeom prst="rect">
            <a:avLst/>
          </a:prstGeom>
        </p:spPr>
        <p:txBody>
          <a:bodyPr/>
          <a:lstStyle>
            <a:lvl1pPr marL="0" indent="0" algn="r" rtl="0">
              <a:buNone/>
              <a:defRPr sz="2800" b="1" cap="none" baseline="0">
                <a:solidFill>
                  <a:schemeClr val="tx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EF7EB0E5-31FE-4D50-896A-016C844D0996}"/>
              </a:ext>
            </a:extLst>
          </p:cNvPr>
          <p:cNvSpPr/>
          <p:nvPr userDrawn="1"/>
        </p:nvSpPr>
        <p:spPr>
          <a:xfrm flipH="1">
            <a:off x="918535" y="127859"/>
            <a:ext cx="5924448" cy="6014609"/>
          </a:xfrm>
          <a:prstGeom prst="arc">
            <a:avLst>
              <a:gd name="adj1" fmla="val 12418904"/>
              <a:gd name="adj2" fmla="val 14215629"/>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0D340BF0-3D6B-42F4-AA52-4CCFDE8771B0}"/>
              </a:ext>
            </a:extLst>
          </p:cNvPr>
          <p:cNvSpPr/>
          <p:nvPr userDrawn="1"/>
        </p:nvSpPr>
        <p:spPr>
          <a:xfrm flipH="1">
            <a:off x="798792" y="241664"/>
            <a:ext cx="5924448" cy="6014609"/>
          </a:xfrm>
          <a:prstGeom prst="arc">
            <a:avLst>
              <a:gd name="adj1" fmla="val 10447157"/>
              <a:gd name="adj2" fmla="val 14215629"/>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895BF1E1-C96E-47E5-B890-D85082A54158}"/>
              </a:ext>
            </a:extLst>
          </p:cNvPr>
          <p:cNvSpPr/>
          <p:nvPr userDrawn="1"/>
        </p:nvSpPr>
        <p:spPr>
          <a:xfrm rot="4897428">
            <a:off x="5703" y="2940186"/>
            <a:ext cx="3757420" cy="3594648"/>
          </a:xfrm>
          <a:prstGeom prst="arc">
            <a:avLst>
              <a:gd name="adj1" fmla="val 1819286"/>
              <a:gd name="adj2" fmla="val 3752534"/>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8DE4627C-44FD-413F-8464-A350147F9CBE}"/>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35306986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 Black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74FC8CC-07C7-4CB3-B3B5-0B0B7BFD65F7}"/>
              </a:ext>
            </a:extLst>
          </p:cNvPr>
          <p:cNvGraphicFramePr>
            <a:graphicFrameLocks noChangeAspect="1"/>
          </p:cNvGraphicFramePr>
          <p:nvPr userDrawn="1">
            <p:custDataLst>
              <p:tags r:id="rId1"/>
            </p:custDataLst>
            <p:extLst>
              <p:ext uri="{D42A27DB-BD31-4B8C-83A1-F6EECF244321}">
                <p14:modId xmlns:p14="http://schemas.microsoft.com/office/powerpoint/2010/main" val="4055248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774FC8CC-07C7-4CB3-B3B5-0B0B7BFD6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864C477A-2E43-4C90-8FCA-311155D72012}"/>
              </a:ext>
            </a:extLst>
          </p:cNvPr>
          <p:cNvSpPr>
            <a:spLocks noGrp="1"/>
          </p:cNvSpPr>
          <p:nvPr>
            <p:ph type="pic" sz="quarter" idx="10"/>
          </p:nvPr>
        </p:nvSpPr>
        <p:spPr>
          <a:xfrm>
            <a:off x="6117774" y="741885"/>
            <a:ext cx="5924449" cy="5918461"/>
          </a:xfrm>
          <a:prstGeom prst="ellipse">
            <a:avLst/>
          </a:prstGeom>
        </p:spPr>
        <p:txBody>
          <a:bodyPr/>
          <a:lstStyle/>
          <a:p>
            <a:endParaRPr lang="en-US"/>
          </a:p>
        </p:txBody>
      </p:sp>
      <p:cxnSp>
        <p:nvCxnSpPr>
          <p:cNvPr id="11" name="Straight Connector 10">
            <a:extLst>
              <a:ext uri="{FF2B5EF4-FFF2-40B4-BE49-F238E27FC236}">
                <a16:creationId xmlns:a16="http://schemas.microsoft.com/office/drawing/2014/main" id="{49EC9AEC-FDDE-4443-B1C8-B83108E26777}"/>
              </a:ext>
            </a:extLst>
          </p:cNvPr>
          <p:cNvCxnSpPr>
            <a:cxnSpLocks/>
          </p:cNvCxnSpPr>
          <p:nvPr userDrawn="1"/>
        </p:nvCxnSpPr>
        <p:spPr>
          <a:xfrm>
            <a:off x="522523" y="3429000"/>
            <a:ext cx="794657" cy="0"/>
          </a:xfrm>
          <a:prstGeom prst="line">
            <a:avLst/>
          </a:prstGeom>
          <a:ln w="889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A93F653-AF05-4F82-BC67-EB522D89950F}"/>
              </a:ext>
            </a:extLst>
          </p:cNvPr>
          <p:cNvSpPr>
            <a:spLocks noGrp="1"/>
          </p:cNvSpPr>
          <p:nvPr>
            <p:ph type="body" sz="quarter" idx="13" hasCustomPrompt="1"/>
          </p:nvPr>
        </p:nvSpPr>
        <p:spPr>
          <a:xfrm>
            <a:off x="522523" y="420699"/>
            <a:ext cx="1589312" cy="642371"/>
          </a:xfrm>
          <a:prstGeom prst="rect">
            <a:avLst/>
          </a:prstGeom>
        </p:spPr>
        <p:txBody>
          <a:bodyPr/>
          <a:lstStyle>
            <a:lvl1pPr marL="0" indent="0" algn="l" rtl="0">
              <a:buNone/>
              <a:defRPr sz="5400" b="0" cap="all" baseline="0">
                <a:solidFill>
                  <a:schemeClr val="tx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
        <p:nvSpPr>
          <p:cNvPr id="13" name="Text Placeholder 7">
            <a:extLst>
              <a:ext uri="{FF2B5EF4-FFF2-40B4-BE49-F238E27FC236}">
                <a16:creationId xmlns:a16="http://schemas.microsoft.com/office/drawing/2014/main" id="{7D0CDA2A-F294-4A8C-898C-8C948918B21D}"/>
              </a:ext>
            </a:extLst>
          </p:cNvPr>
          <p:cNvSpPr>
            <a:spLocks noGrp="1"/>
          </p:cNvSpPr>
          <p:nvPr>
            <p:ph type="body" sz="quarter" idx="11" hasCustomPrompt="1"/>
          </p:nvPr>
        </p:nvSpPr>
        <p:spPr>
          <a:xfrm>
            <a:off x="522523" y="1708831"/>
            <a:ext cx="4659068" cy="1524226"/>
          </a:xfrm>
          <a:prstGeom prst="rect">
            <a:avLst/>
          </a:prstGeom>
        </p:spPr>
        <p:txBody>
          <a:bodyPr anchor="b"/>
          <a:lstStyle>
            <a:lvl1pPr marL="0" indent="0" algn="l" rtl="0">
              <a:buNone/>
              <a:defRPr sz="3600" cap="all" baseline="0">
                <a:solidFill>
                  <a:schemeClr val="tx1">
                    <a:lumMod val="75000"/>
                    <a:lumOff val="25000"/>
                  </a:schemeClr>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4" name="Text Placeholder 7">
            <a:extLst>
              <a:ext uri="{FF2B5EF4-FFF2-40B4-BE49-F238E27FC236}">
                <a16:creationId xmlns:a16="http://schemas.microsoft.com/office/drawing/2014/main" id="{46418D62-A8CD-414C-B79F-CB58AC700635}"/>
              </a:ext>
            </a:extLst>
          </p:cNvPr>
          <p:cNvSpPr>
            <a:spLocks noGrp="1"/>
          </p:cNvSpPr>
          <p:nvPr>
            <p:ph type="body" sz="quarter" idx="12" hasCustomPrompt="1"/>
          </p:nvPr>
        </p:nvSpPr>
        <p:spPr>
          <a:xfrm>
            <a:off x="522523" y="4179889"/>
            <a:ext cx="4286322" cy="1524226"/>
          </a:xfrm>
          <a:prstGeom prst="rect">
            <a:avLst/>
          </a:prstGeom>
        </p:spPr>
        <p:txBody>
          <a:bodyPr/>
          <a:lstStyle>
            <a:lvl1pPr marL="0" indent="0" algn="l" rtl="0">
              <a:buNone/>
              <a:defRPr sz="2800" b="1" cap="none" baseline="0">
                <a:solidFill>
                  <a:schemeClr val="tx1">
                    <a:lumMod val="75000"/>
                    <a:lumOff val="25000"/>
                  </a:schemeClr>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5" name="Arc 14">
            <a:extLst>
              <a:ext uri="{FF2B5EF4-FFF2-40B4-BE49-F238E27FC236}">
                <a16:creationId xmlns:a16="http://schemas.microsoft.com/office/drawing/2014/main" id="{9F87BC64-2C9D-43F5-BA7B-1C31CBE8E7BB}"/>
              </a:ext>
            </a:extLst>
          </p:cNvPr>
          <p:cNvSpPr/>
          <p:nvPr userDrawn="1"/>
        </p:nvSpPr>
        <p:spPr>
          <a:xfrm flipH="1">
            <a:off x="5682346" y="402777"/>
            <a:ext cx="6261904" cy="6159595"/>
          </a:xfrm>
          <a:prstGeom prst="arc">
            <a:avLst>
              <a:gd name="adj1" fmla="val 17901590"/>
              <a:gd name="adj2" fmla="val 19739785"/>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3D0C79FD-67FA-4768-9237-D32C0741AE6C}"/>
              </a:ext>
            </a:extLst>
          </p:cNvPr>
          <p:cNvSpPr/>
          <p:nvPr userDrawn="1"/>
        </p:nvSpPr>
        <p:spPr>
          <a:xfrm flipH="1">
            <a:off x="5797951" y="493334"/>
            <a:ext cx="6102757" cy="6014609"/>
          </a:xfrm>
          <a:prstGeom prst="arc">
            <a:avLst>
              <a:gd name="adj1" fmla="val 17878140"/>
              <a:gd name="adj2" fmla="val 254863"/>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Arc 16">
            <a:extLst>
              <a:ext uri="{FF2B5EF4-FFF2-40B4-BE49-F238E27FC236}">
                <a16:creationId xmlns:a16="http://schemas.microsoft.com/office/drawing/2014/main" id="{78EA25B6-1C37-4EB0-9853-C615CD241AC6}"/>
              </a:ext>
            </a:extLst>
          </p:cNvPr>
          <p:cNvSpPr/>
          <p:nvPr userDrawn="1"/>
        </p:nvSpPr>
        <p:spPr>
          <a:xfrm rot="4897428">
            <a:off x="8431510" y="3081640"/>
            <a:ext cx="3757420" cy="3594648"/>
          </a:xfrm>
          <a:prstGeom prst="arc">
            <a:avLst>
              <a:gd name="adj1" fmla="val 18621937"/>
              <a:gd name="adj2" fmla="val 20638078"/>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Rectangle 17">
            <a:extLst>
              <a:ext uri="{FF2B5EF4-FFF2-40B4-BE49-F238E27FC236}">
                <a16:creationId xmlns:a16="http://schemas.microsoft.com/office/drawing/2014/main" id="{DF5A509B-CCB3-423F-B4B6-847FCA254AF0}"/>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8553397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Key Statement - whi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922680-530B-4EBC-A457-6F355232B60E}"/>
              </a:ext>
            </a:extLst>
          </p:cNvPr>
          <p:cNvGraphicFramePr>
            <a:graphicFrameLocks noChangeAspect="1"/>
          </p:cNvGraphicFramePr>
          <p:nvPr userDrawn="1">
            <p:custDataLst>
              <p:tags r:id="rId1"/>
            </p:custDataLst>
            <p:extLst>
              <p:ext uri="{D42A27DB-BD31-4B8C-83A1-F6EECF244321}">
                <p14:modId xmlns:p14="http://schemas.microsoft.com/office/powerpoint/2010/main" val="2858254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6E922680-530B-4EBC-A457-6F355232B6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tx2"/>
                </a:solidFill>
              </a:defRPr>
            </a:lvl1pPr>
          </a:lstStyle>
          <a:p>
            <a:pPr lvl="0"/>
            <a:r>
              <a:rPr lang="en-US" dirty="0"/>
              <a:t>Your text goes here</a:t>
            </a:r>
          </a:p>
        </p:txBody>
      </p:sp>
      <p:cxnSp>
        <p:nvCxnSpPr>
          <p:cNvPr id="10" name="Straight Connector 9">
            <a:extLst>
              <a:ext uri="{FF2B5EF4-FFF2-40B4-BE49-F238E27FC236}">
                <a16:creationId xmlns:a16="http://schemas.microsoft.com/office/drawing/2014/main" id="{98102F6D-97E6-44C8-A056-15FBEDC61807}"/>
              </a:ext>
            </a:extLst>
          </p:cNvPr>
          <p:cNvCxnSpPr>
            <a:cxnSpLocks/>
          </p:cNvCxnSpPr>
          <p:nvPr userDrawn="1"/>
        </p:nvCxnSpPr>
        <p:spPr>
          <a:xfrm flipV="1">
            <a:off x="560692" y="1332689"/>
            <a:ext cx="0" cy="386054"/>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9" name="Picture 8" descr="A close up of a logo&#10;&#10;Description automatically generated">
            <a:extLst>
              <a:ext uri="{FF2B5EF4-FFF2-40B4-BE49-F238E27FC236}">
                <a16:creationId xmlns:a16="http://schemas.microsoft.com/office/drawing/2014/main" id="{D8E04D60-F235-4BBC-8D51-B557D03B8C7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6" y="286237"/>
            <a:ext cx="816288" cy="182880"/>
          </a:xfrm>
          <a:prstGeom prst="rect">
            <a:avLst/>
          </a:prstGeom>
        </p:spPr>
      </p:pic>
      <p:pic>
        <p:nvPicPr>
          <p:cNvPr id="15" name="Picture 14" descr="A close up of a sign&#10;&#10;Description automatically generated">
            <a:extLst>
              <a:ext uri="{FF2B5EF4-FFF2-40B4-BE49-F238E27FC236}">
                <a16:creationId xmlns:a16="http://schemas.microsoft.com/office/drawing/2014/main" id="{51AC52DA-04DF-4380-9CA9-00B63F4ED64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2672282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021BFA-965D-4A2F-97E8-52D7B6AF4EF4}"/>
              </a:ext>
            </a:extLst>
          </p:cNvPr>
          <p:cNvGraphicFramePr>
            <a:graphicFrameLocks noChangeAspect="1"/>
          </p:cNvGraphicFramePr>
          <p:nvPr userDrawn="1">
            <p:custDataLst>
              <p:tags r:id="rId1"/>
            </p:custDataLst>
            <p:extLst>
              <p:ext uri="{D42A27DB-BD31-4B8C-83A1-F6EECF244321}">
                <p14:modId xmlns:p14="http://schemas.microsoft.com/office/powerpoint/2010/main" val="1033301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11021BFA-965D-4A2F-97E8-52D7B6AF4E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FE89D51E-21C4-4C23-B753-ADD1DC7586FF}"/>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10444537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for-table-inser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7734AE-D2D3-4842-82C9-D0FA68481B3D}"/>
              </a:ext>
            </a:extLst>
          </p:cNvPr>
          <p:cNvGraphicFramePr>
            <a:graphicFrameLocks noChangeAspect="1"/>
          </p:cNvGraphicFramePr>
          <p:nvPr userDrawn="1">
            <p:custDataLst>
              <p:tags r:id="rId1"/>
            </p:custDataLst>
            <p:extLst>
              <p:ext uri="{D42A27DB-BD31-4B8C-83A1-F6EECF244321}">
                <p14:modId xmlns:p14="http://schemas.microsoft.com/office/powerpoint/2010/main" val="2961475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0C7734AE-D2D3-4842-82C9-D0FA68481B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487680" y="697598"/>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554915" y="1661303"/>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13142387-8359-46F6-B9BC-48F694335030}"/>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35807168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E7BB05-188F-4D4D-AB04-698D82F9C097}"/>
              </a:ext>
            </a:extLst>
          </p:cNvPr>
          <p:cNvGraphicFramePr>
            <a:graphicFrameLocks noChangeAspect="1"/>
          </p:cNvGraphicFramePr>
          <p:nvPr userDrawn="1">
            <p:custDataLst>
              <p:tags r:id="rId1"/>
            </p:custDataLst>
            <p:extLst>
              <p:ext uri="{D42A27DB-BD31-4B8C-83A1-F6EECF244321}">
                <p14:modId xmlns:p14="http://schemas.microsoft.com/office/powerpoint/2010/main" val="1095932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D3E7BB05-188F-4D4D-AB04-698D82F9C0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2">
            <a:extLst>
              <a:ext uri="{FF2B5EF4-FFF2-40B4-BE49-F238E27FC236}">
                <a16:creationId xmlns:a16="http://schemas.microsoft.com/office/drawing/2014/main" id="{D40CA587-5551-46BE-8553-C0B7B58CD651}"/>
              </a:ext>
            </a:extLst>
          </p:cNvPr>
          <p:cNvSpPr>
            <a:spLocks noGrp="1"/>
          </p:cNvSpPr>
          <p:nvPr>
            <p:ph type="body" sz="quarter" idx="13" hasCustomPrompt="1"/>
          </p:nvPr>
        </p:nvSpPr>
        <p:spPr>
          <a:xfrm>
            <a:off x="533400" y="2186082"/>
            <a:ext cx="4666129" cy="314325"/>
          </a:xfrm>
          <a:prstGeom prst="rect">
            <a:avLst/>
          </a:prstGeom>
        </p:spPr>
        <p:txBody>
          <a:bodyPr/>
          <a:lstStyle>
            <a:lvl1pPr marL="0" indent="0" rtl="0">
              <a:buNone/>
              <a:defRPr sz="2400" b="1"/>
            </a:lvl1pPr>
          </a:lstStyle>
          <a:p>
            <a:pPr lvl="0"/>
            <a:r>
              <a:rPr lang="en-US" dirty="0"/>
              <a:t>Subtitle</a:t>
            </a:r>
          </a:p>
        </p:txBody>
      </p:sp>
      <p:sp>
        <p:nvSpPr>
          <p:cNvPr id="6" name="Text Placeholder 8">
            <a:extLst>
              <a:ext uri="{FF2B5EF4-FFF2-40B4-BE49-F238E27FC236}">
                <a16:creationId xmlns:a16="http://schemas.microsoft.com/office/drawing/2014/main" id="{BBDE0159-3FAB-46F7-ADB1-3876951589E5}"/>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15383165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hort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484D5A-DDED-4862-B059-FA16A1F0A389}"/>
              </a:ext>
            </a:extLst>
          </p:cNvPr>
          <p:cNvGraphicFramePr>
            <a:graphicFrameLocks noChangeAspect="1"/>
          </p:cNvGraphicFramePr>
          <p:nvPr userDrawn="1">
            <p:custDataLst>
              <p:tags r:id="rId1"/>
            </p:custDataLst>
            <p:extLst>
              <p:ext uri="{D42A27DB-BD31-4B8C-83A1-F6EECF244321}">
                <p14:modId xmlns:p14="http://schemas.microsoft.com/office/powerpoint/2010/main" val="38849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7E484D5A-DDED-4862-B059-FA16A1F0A3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D145B7CB-3B0D-40C8-B905-B30E3285A7A9}"/>
              </a:ext>
            </a:extLst>
          </p:cNvPr>
          <p:cNvSpPr>
            <a:spLocks noGrp="1"/>
          </p:cNvSpPr>
          <p:nvPr>
            <p:ph type="body" sz="quarter" idx="10"/>
          </p:nvPr>
        </p:nvSpPr>
        <p:spPr>
          <a:xfrm>
            <a:off x="5495365" y="1976717"/>
            <a:ext cx="6355323" cy="4047846"/>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a:extLst>
              <a:ext uri="{FF2B5EF4-FFF2-40B4-BE49-F238E27FC236}">
                <a16:creationId xmlns:a16="http://schemas.microsoft.com/office/drawing/2014/main" id="{2B26E4EA-D033-4B8E-A02C-5D35A19DC717}"/>
              </a:ext>
            </a:extLst>
          </p:cNvPr>
          <p:cNvSpPr>
            <a:spLocks noGrp="1"/>
          </p:cNvSpPr>
          <p:nvPr>
            <p:ph type="body" sz="quarter" idx="13" hasCustomPrompt="1"/>
          </p:nvPr>
        </p:nvSpPr>
        <p:spPr>
          <a:xfrm>
            <a:off x="533400" y="2186082"/>
            <a:ext cx="4666129" cy="314325"/>
          </a:xfrm>
          <a:prstGeom prst="rect">
            <a:avLst/>
          </a:prstGeom>
        </p:spPr>
        <p:txBody>
          <a:bodyPr/>
          <a:lstStyle>
            <a:lvl1pPr marL="0" indent="0" rtl="0">
              <a:buNone/>
              <a:defRPr sz="2400" b="1"/>
            </a:lvl1pPr>
          </a:lstStyle>
          <a:p>
            <a:pPr lvl="0"/>
            <a:r>
              <a:rPr lang="en-US" dirty="0"/>
              <a:t>Subtitle</a:t>
            </a:r>
          </a:p>
        </p:txBody>
      </p:sp>
      <p:sp>
        <p:nvSpPr>
          <p:cNvPr id="11" name="Text Placeholder 8">
            <a:extLst>
              <a:ext uri="{FF2B5EF4-FFF2-40B4-BE49-F238E27FC236}">
                <a16:creationId xmlns:a16="http://schemas.microsoft.com/office/drawing/2014/main" id="{E97A1BE4-D42E-4857-A733-12409A8FF87F}"/>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38378036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long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4D7C3D-1109-472A-B8A7-5C1898E96785}"/>
              </a:ext>
            </a:extLst>
          </p:cNvPr>
          <p:cNvGraphicFramePr>
            <a:graphicFrameLocks noChangeAspect="1"/>
          </p:cNvGraphicFramePr>
          <p:nvPr userDrawn="1">
            <p:custDataLst>
              <p:tags r:id="rId1"/>
            </p:custDataLst>
            <p:extLst>
              <p:ext uri="{D42A27DB-BD31-4B8C-83A1-F6EECF244321}">
                <p14:modId xmlns:p14="http://schemas.microsoft.com/office/powerpoint/2010/main" val="522104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AE4D7C3D-1109-472A-B8A7-5C1898E96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D145B7CB-3B0D-40C8-B905-B30E3285A7A9}"/>
              </a:ext>
            </a:extLst>
          </p:cNvPr>
          <p:cNvSpPr>
            <a:spLocks noGrp="1"/>
          </p:cNvSpPr>
          <p:nvPr>
            <p:ph type="body" sz="quarter" idx="10"/>
          </p:nvPr>
        </p:nvSpPr>
        <p:spPr>
          <a:xfrm>
            <a:off x="533401" y="2768041"/>
            <a:ext cx="11317288" cy="3256521"/>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a:extLst>
              <a:ext uri="{FF2B5EF4-FFF2-40B4-BE49-F238E27FC236}">
                <a16:creationId xmlns:a16="http://schemas.microsoft.com/office/drawing/2014/main" id="{64B9E202-5D8D-426B-A8AA-7DAB61B19D55}"/>
              </a:ext>
            </a:extLst>
          </p:cNvPr>
          <p:cNvSpPr>
            <a:spLocks noGrp="1"/>
          </p:cNvSpPr>
          <p:nvPr>
            <p:ph type="body" sz="quarter" idx="13" hasCustomPrompt="1"/>
          </p:nvPr>
        </p:nvSpPr>
        <p:spPr>
          <a:xfrm>
            <a:off x="533400" y="2186082"/>
            <a:ext cx="4666129" cy="314325"/>
          </a:xfrm>
          <a:prstGeom prst="rect">
            <a:avLst/>
          </a:prstGeom>
        </p:spPr>
        <p:txBody>
          <a:bodyPr/>
          <a:lstStyle>
            <a:lvl1pPr marL="0" indent="0" rtl="0">
              <a:buNone/>
              <a:defRPr sz="2400" b="1"/>
            </a:lvl1pPr>
          </a:lstStyle>
          <a:p>
            <a:pPr lvl="0"/>
            <a:r>
              <a:rPr lang="en-US" dirty="0"/>
              <a:t>Subtitle</a:t>
            </a:r>
          </a:p>
        </p:txBody>
      </p:sp>
      <p:sp>
        <p:nvSpPr>
          <p:cNvPr id="11" name="Text Placeholder 8">
            <a:extLst>
              <a:ext uri="{FF2B5EF4-FFF2-40B4-BE49-F238E27FC236}">
                <a16:creationId xmlns:a16="http://schemas.microsoft.com/office/drawing/2014/main" id="{ADDAF791-ED2C-4893-8742-5A295879E246}"/>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3917590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237238-9DD0-4CBE-AFC1-DF3F2B845EEA}"/>
              </a:ext>
            </a:extLst>
          </p:cNvPr>
          <p:cNvGraphicFramePr>
            <a:graphicFrameLocks noChangeAspect="1"/>
          </p:cNvGraphicFramePr>
          <p:nvPr userDrawn="1">
            <p:custDataLst>
              <p:tags r:id="rId1"/>
            </p:custDataLst>
            <p:extLst>
              <p:ext uri="{D42A27DB-BD31-4B8C-83A1-F6EECF244321}">
                <p14:modId xmlns:p14="http://schemas.microsoft.com/office/powerpoint/2010/main" val="3044343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a:extLst>
                          <a:ext uri="{FF2B5EF4-FFF2-40B4-BE49-F238E27FC236}">
                            <a16:creationId xmlns:a16="http://schemas.microsoft.com/office/drawing/2014/main" id="{3D237238-9DD0-4CBE-AFC1-DF3F2B845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D145B7CB-3B0D-40C8-B905-B30E3285A7A9}"/>
              </a:ext>
            </a:extLst>
          </p:cNvPr>
          <p:cNvSpPr>
            <a:spLocks noGrp="1"/>
          </p:cNvSpPr>
          <p:nvPr>
            <p:ph type="body" sz="quarter" idx="10"/>
          </p:nvPr>
        </p:nvSpPr>
        <p:spPr>
          <a:xfrm>
            <a:off x="533401" y="2853156"/>
            <a:ext cx="5410199" cy="3171405"/>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5AAFEC02-985D-4370-BD47-EF61275E5C57}"/>
              </a:ext>
            </a:extLst>
          </p:cNvPr>
          <p:cNvSpPr>
            <a:spLocks noGrp="1"/>
          </p:cNvSpPr>
          <p:nvPr>
            <p:ph type="body" sz="quarter" idx="11"/>
          </p:nvPr>
        </p:nvSpPr>
        <p:spPr>
          <a:xfrm>
            <a:off x="6248401" y="1013012"/>
            <a:ext cx="5410197" cy="5019488"/>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a:extLst>
              <a:ext uri="{FF2B5EF4-FFF2-40B4-BE49-F238E27FC236}">
                <a16:creationId xmlns:a16="http://schemas.microsoft.com/office/drawing/2014/main" id="{7E6107DC-282A-4F70-9FB2-9D4731E3EC05}"/>
              </a:ext>
            </a:extLst>
          </p:cNvPr>
          <p:cNvSpPr>
            <a:spLocks noGrp="1"/>
          </p:cNvSpPr>
          <p:nvPr>
            <p:ph type="body" sz="quarter" idx="13" hasCustomPrompt="1"/>
          </p:nvPr>
        </p:nvSpPr>
        <p:spPr>
          <a:xfrm>
            <a:off x="533400" y="2186082"/>
            <a:ext cx="4666129" cy="314325"/>
          </a:xfrm>
          <a:prstGeom prst="rect">
            <a:avLst/>
          </a:prstGeom>
        </p:spPr>
        <p:txBody>
          <a:bodyPr/>
          <a:lstStyle>
            <a:lvl1pPr marL="0" indent="0" rtl="0">
              <a:buNone/>
              <a:defRPr sz="2400" b="1"/>
            </a:lvl1pPr>
          </a:lstStyle>
          <a:p>
            <a:pPr lvl="0"/>
            <a:r>
              <a:rPr lang="en-US" dirty="0"/>
              <a:t>Subtitle</a:t>
            </a:r>
          </a:p>
        </p:txBody>
      </p:sp>
      <p:sp>
        <p:nvSpPr>
          <p:cNvPr id="8" name="Text Placeholder 8">
            <a:extLst>
              <a:ext uri="{FF2B5EF4-FFF2-40B4-BE49-F238E27FC236}">
                <a16:creationId xmlns:a16="http://schemas.microsoft.com/office/drawing/2014/main" id="{01237A5C-E9E2-48D9-9371-29FE2FA26750}"/>
              </a:ext>
            </a:extLst>
          </p:cNvPr>
          <p:cNvSpPr>
            <a:spLocks noGrp="1"/>
          </p:cNvSpPr>
          <p:nvPr>
            <p:ph type="body" sz="quarter" idx="14"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1346144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no im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83AD54-6C16-4930-89F1-1CDF4B6348A1}"/>
              </a:ext>
            </a:extLst>
          </p:cNvPr>
          <p:cNvGraphicFramePr>
            <a:graphicFrameLocks noChangeAspect="1"/>
          </p:cNvGraphicFramePr>
          <p:nvPr userDrawn="1">
            <p:custDataLst>
              <p:tags r:id="rId1"/>
            </p:custDataLst>
            <p:extLst>
              <p:ext uri="{D42A27DB-BD31-4B8C-83A1-F6EECF244321}">
                <p14:modId xmlns:p14="http://schemas.microsoft.com/office/powerpoint/2010/main" val="334521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a:extLst>
                          <a:ext uri="{FF2B5EF4-FFF2-40B4-BE49-F238E27FC236}">
                            <a16:creationId xmlns:a16="http://schemas.microsoft.com/office/drawing/2014/main" id="{1083AD54-6C16-4930-89F1-1CDF4B634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3"/>
          <p:cNvSpPr>
            <a:spLocks noGrp="1"/>
          </p:cNvSpPr>
          <p:nvPr>
            <p:ph type="title" hasCustomPrompt="1"/>
          </p:nvPr>
        </p:nvSpPr>
        <p:spPr>
          <a:xfrm>
            <a:off x="3656551" y="2375635"/>
            <a:ext cx="5454792" cy="1345782"/>
          </a:xfrm>
          <a:prstGeom prst="rect">
            <a:avLst/>
          </a:prstGeom>
          <a:solidFill>
            <a:srgbClr val="FFFFFF">
              <a:alpha val="18039"/>
            </a:srgbClr>
          </a:solidFill>
        </p:spPr>
        <p:txBody>
          <a:bodyPr vert="horz" anchor="ctr"/>
          <a:lstStyle>
            <a:lvl1pPr rtl="0">
              <a:defRPr cap="all" baseline="0">
                <a:solidFill>
                  <a:schemeClr val="tx1"/>
                </a:solidFill>
                <a:latin typeface="+mn-lt"/>
              </a:defRPr>
            </a:lvl1pPr>
          </a:lstStyle>
          <a:p>
            <a:r>
              <a:rPr lang="en-US" dirty="0"/>
              <a:t>Title</a:t>
            </a:r>
          </a:p>
        </p:txBody>
      </p:sp>
      <p:cxnSp>
        <p:nvCxnSpPr>
          <p:cNvPr id="9" name="Straight Connector 8">
            <a:extLst>
              <a:ext uri="{FF2B5EF4-FFF2-40B4-BE49-F238E27FC236}">
                <a16:creationId xmlns:a16="http://schemas.microsoft.com/office/drawing/2014/main" id="{92E302C7-A93F-4991-A37F-39463C755350}"/>
              </a:ext>
            </a:extLst>
          </p:cNvPr>
          <p:cNvCxnSpPr/>
          <p:nvPr userDrawn="1"/>
        </p:nvCxnSpPr>
        <p:spPr>
          <a:xfrm>
            <a:off x="3824873" y="3822114"/>
            <a:ext cx="42308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379DE25-8C83-4534-B8E6-4F0F95EC54D0}"/>
              </a:ext>
            </a:extLst>
          </p:cNvPr>
          <p:cNvSpPr/>
          <p:nvPr userDrawn="1"/>
        </p:nvSpPr>
        <p:spPr>
          <a:xfrm>
            <a:off x="12232944" y="0"/>
            <a:ext cx="1828800" cy="1828800"/>
          </a:xfrm>
          <a:prstGeom prst="ellipse">
            <a:avLst/>
          </a:prstGeom>
          <a:solidFill>
            <a:srgbClr val="66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2" name="Oval 11">
            <a:extLst>
              <a:ext uri="{FF2B5EF4-FFF2-40B4-BE49-F238E27FC236}">
                <a16:creationId xmlns:a16="http://schemas.microsoft.com/office/drawing/2014/main" id="{737E4B51-4D9A-4F2C-BA28-148F5D4FFACD}"/>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3" name="Oval 12">
            <a:extLst>
              <a:ext uri="{FF2B5EF4-FFF2-40B4-BE49-F238E27FC236}">
                <a16:creationId xmlns:a16="http://schemas.microsoft.com/office/drawing/2014/main" id="{9BF335E9-83B1-487C-8F60-43EB86A6E499}"/>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4" name="Oval 13">
            <a:extLst>
              <a:ext uri="{FF2B5EF4-FFF2-40B4-BE49-F238E27FC236}">
                <a16:creationId xmlns:a16="http://schemas.microsoft.com/office/drawing/2014/main" id="{D35228B6-DD05-4EFC-BD4C-F018DFC6CEB4}"/>
              </a:ext>
            </a:extLst>
          </p:cNvPr>
          <p:cNvSpPr/>
          <p:nvPr userDrawn="1"/>
        </p:nvSpPr>
        <p:spPr>
          <a:xfrm>
            <a:off x="13222752" y="2951362"/>
            <a:ext cx="905164" cy="905164"/>
          </a:xfrm>
          <a:prstGeom prst="ellipse">
            <a:avLst/>
          </a:prstGeom>
          <a:solidFill>
            <a:srgbClr val="99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15" name="Oval 14">
            <a:extLst>
              <a:ext uri="{FF2B5EF4-FFF2-40B4-BE49-F238E27FC236}">
                <a16:creationId xmlns:a16="http://schemas.microsoft.com/office/drawing/2014/main" id="{9FC2BFE4-D3D9-453D-94E9-18B5CF11D4C2}"/>
              </a:ext>
            </a:extLst>
          </p:cNvPr>
          <p:cNvSpPr/>
          <p:nvPr userDrawn="1"/>
        </p:nvSpPr>
        <p:spPr>
          <a:xfrm>
            <a:off x="1754358" y="541008"/>
            <a:ext cx="4807636" cy="4603310"/>
          </a:xfrm>
          <a:prstGeom prst="ellipse">
            <a:avLst/>
          </a:prstGeom>
          <a:noFill/>
          <a:ln w="317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Arc 1">
            <a:extLst>
              <a:ext uri="{FF2B5EF4-FFF2-40B4-BE49-F238E27FC236}">
                <a16:creationId xmlns:a16="http://schemas.microsoft.com/office/drawing/2014/main" id="{43BB903B-30AC-411C-8452-796CEBCA5CA3}"/>
              </a:ext>
            </a:extLst>
          </p:cNvPr>
          <p:cNvSpPr/>
          <p:nvPr userDrawn="1"/>
        </p:nvSpPr>
        <p:spPr>
          <a:xfrm rot="21367305">
            <a:off x="1630535" y="383555"/>
            <a:ext cx="4811756" cy="4603310"/>
          </a:xfrm>
          <a:prstGeom prst="arc">
            <a:avLst>
              <a:gd name="adj1" fmla="val 11131197"/>
              <a:gd name="adj2" fmla="val 15724196"/>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F2E0EC24-664D-4530-AFB1-A2452967DBEF}"/>
              </a:ext>
            </a:extLst>
          </p:cNvPr>
          <p:cNvSpPr/>
          <p:nvPr userDrawn="1"/>
        </p:nvSpPr>
        <p:spPr>
          <a:xfrm rot="21367305">
            <a:off x="6784539" y="1711612"/>
            <a:ext cx="4811756" cy="4603310"/>
          </a:xfrm>
          <a:prstGeom prst="arc">
            <a:avLst>
              <a:gd name="adj1" fmla="val 1667024"/>
              <a:gd name="adj2" fmla="val 3706924"/>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Text Placeholder 6">
            <a:extLst>
              <a:ext uri="{FF2B5EF4-FFF2-40B4-BE49-F238E27FC236}">
                <a16:creationId xmlns:a16="http://schemas.microsoft.com/office/drawing/2014/main" id="{6009D204-408C-4DF9-839E-18F561DE5865}"/>
              </a:ext>
            </a:extLst>
          </p:cNvPr>
          <p:cNvSpPr>
            <a:spLocks noGrp="1"/>
          </p:cNvSpPr>
          <p:nvPr>
            <p:ph type="body" sz="quarter" idx="12" hasCustomPrompt="1"/>
          </p:nvPr>
        </p:nvSpPr>
        <p:spPr>
          <a:xfrm>
            <a:off x="3656551" y="4153125"/>
            <a:ext cx="4308793" cy="458787"/>
          </a:xfrm>
          <a:prstGeom prst="rect">
            <a:avLst/>
          </a:prstGeom>
        </p:spPr>
        <p:txBody>
          <a:bodyPr/>
          <a:lstStyle>
            <a:lvl1pPr marL="0" indent="0" rtl="0">
              <a:buNone/>
              <a:defRPr sz="1600" b="0">
                <a:solidFill>
                  <a:schemeClr val="bg2"/>
                </a:solidFill>
              </a:defRPr>
            </a:lvl1pPr>
          </a:lstStyle>
          <a:p>
            <a:pPr lvl="0"/>
            <a:r>
              <a:rPr lang="en-US" dirty="0"/>
              <a:t>Date</a:t>
            </a:r>
          </a:p>
        </p:txBody>
      </p:sp>
    </p:spTree>
    <p:extLst>
      <p:ext uri="{BB962C8B-B14F-4D97-AF65-F5344CB8AC3E}">
        <p14:creationId xmlns:p14="http://schemas.microsoft.com/office/powerpoint/2010/main" val="23436533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8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picture and text - gree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291742-0B3A-4923-89AD-64CEBEB63F63}"/>
              </a:ext>
            </a:extLst>
          </p:cNvPr>
          <p:cNvGraphicFramePr>
            <a:graphicFrameLocks noChangeAspect="1"/>
          </p:cNvGraphicFramePr>
          <p:nvPr userDrawn="1">
            <p:custDataLst>
              <p:tags r:id="rId1"/>
            </p:custDataLst>
            <p:extLst>
              <p:ext uri="{D42A27DB-BD31-4B8C-83A1-F6EECF244321}">
                <p14:modId xmlns:p14="http://schemas.microsoft.com/office/powerpoint/2010/main" val="131238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Object 4" hidden="1">
                        <a:extLst>
                          <a:ext uri="{FF2B5EF4-FFF2-40B4-BE49-F238E27FC236}">
                            <a16:creationId xmlns:a16="http://schemas.microsoft.com/office/drawing/2014/main" id="{A8291742-0B3A-4923-89AD-64CEBEB63F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096126C-CE19-4811-AFF2-D6D707095734}"/>
              </a:ext>
            </a:extLst>
          </p:cNvPr>
          <p:cNvSpPr/>
          <p:nvPr userDrawn="1"/>
        </p:nvSpPr>
        <p:spPr>
          <a:xfrm>
            <a:off x="360218" y="6142182"/>
            <a:ext cx="2429164" cy="439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Text Placeholder 2">
            <a:extLst>
              <a:ext uri="{FF2B5EF4-FFF2-40B4-BE49-F238E27FC236}">
                <a16:creationId xmlns:a16="http://schemas.microsoft.com/office/drawing/2014/main" id="{5AAFEC02-985D-4370-BD47-EF61275E5C57}"/>
              </a:ext>
            </a:extLst>
          </p:cNvPr>
          <p:cNvSpPr>
            <a:spLocks noGrp="1"/>
          </p:cNvSpPr>
          <p:nvPr>
            <p:ph type="body" sz="quarter" idx="11"/>
          </p:nvPr>
        </p:nvSpPr>
        <p:spPr>
          <a:xfrm>
            <a:off x="6248401" y="1013011"/>
            <a:ext cx="5410197" cy="5397021"/>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3">
            <a:extLst>
              <a:ext uri="{FF2B5EF4-FFF2-40B4-BE49-F238E27FC236}">
                <a16:creationId xmlns:a16="http://schemas.microsoft.com/office/drawing/2014/main" id="{E6FAD561-B931-4B75-91CF-42129561DBE2}"/>
              </a:ext>
            </a:extLst>
          </p:cNvPr>
          <p:cNvSpPr>
            <a:spLocks noGrp="1"/>
          </p:cNvSpPr>
          <p:nvPr>
            <p:ph type="pic" sz="quarter" idx="10"/>
          </p:nvPr>
        </p:nvSpPr>
        <p:spPr>
          <a:xfrm>
            <a:off x="533400" y="2261957"/>
            <a:ext cx="4451749" cy="4447250"/>
          </a:xfrm>
          <a:prstGeom prst="ellipse">
            <a:avLst/>
          </a:prstGeom>
        </p:spPr>
        <p:txBody>
          <a:bodyPr/>
          <a:lstStyle/>
          <a:p>
            <a:endParaRPr lang="en-US"/>
          </a:p>
        </p:txBody>
      </p:sp>
      <p:sp>
        <p:nvSpPr>
          <p:cNvPr id="13" name="Arc 12">
            <a:extLst>
              <a:ext uri="{FF2B5EF4-FFF2-40B4-BE49-F238E27FC236}">
                <a16:creationId xmlns:a16="http://schemas.microsoft.com/office/drawing/2014/main" id="{FCDBE6E3-B743-4658-983F-BD6A1D46E17B}"/>
              </a:ext>
            </a:extLst>
          </p:cNvPr>
          <p:cNvSpPr/>
          <p:nvPr userDrawn="1"/>
        </p:nvSpPr>
        <p:spPr>
          <a:xfrm rot="486420" flipH="1">
            <a:off x="1485467" y="2282261"/>
            <a:ext cx="3823086" cy="4462145"/>
          </a:xfrm>
          <a:prstGeom prst="arc">
            <a:avLst>
              <a:gd name="adj1" fmla="val 12418904"/>
              <a:gd name="adj2" fmla="val 14682170"/>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5" name="Arc 14">
            <a:extLst>
              <a:ext uri="{FF2B5EF4-FFF2-40B4-BE49-F238E27FC236}">
                <a16:creationId xmlns:a16="http://schemas.microsoft.com/office/drawing/2014/main" id="{CB581E23-2C68-4E3F-9D49-900002047F6C}"/>
              </a:ext>
            </a:extLst>
          </p:cNvPr>
          <p:cNvSpPr/>
          <p:nvPr userDrawn="1"/>
        </p:nvSpPr>
        <p:spPr>
          <a:xfrm rot="486420" flipH="1">
            <a:off x="1394480" y="2340962"/>
            <a:ext cx="3823085" cy="4755878"/>
          </a:xfrm>
          <a:prstGeom prst="arc">
            <a:avLst>
              <a:gd name="adj1" fmla="val 10447157"/>
              <a:gd name="adj2" fmla="val 14671730"/>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4" name="Text Placeholder 8">
            <a:extLst>
              <a:ext uri="{FF2B5EF4-FFF2-40B4-BE49-F238E27FC236}">
                <a16:creationId xmlns:a16="http://schemas.microsoft.com/office/drawing/2014/main" id="{1509D13A-52BC-4757-881B-C208AAB0329C}"/>
              </a:ext>
            </a:extLst>
          </p:cNvPr>
          <p:cNvSpPr>
            <a:spLocks noGrp="1"/>
          </p:cNvSpPr>
          <p:nvPr>
            <p:ph type="body" sz="quarter" idx="12"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8151114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icture and text - gre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93011A-78BD-4029-BBDA-EE0D29FB796B}"/>
              </a:ext>
            </a:extLst>
          </p:cNvPr>
          <p:cNvGraphicFramePr>
            <a:graphicFrameLocks noChangeAspect="1"/>
          </p:cNvGraphicFramePr>
          <p:nvPr userDrawn="1">
            <p:custDataLst>
              <p:tags r:id="rId1"/>
            </p:custDataLst>
            <p:extLst>
              <p:ext uri="{D42A27DB-BD31-4B8C-83A1-F6EECF244321}">
                <p14:modId xmlns:p14="http://schemas.microsoft.com/office/powerpoint/2010/main" val="4206103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Object 4" hidden="1">
                        <a:extLst>
                          <a:ext uri="{FF2B5EF4-FFF2-40B4-BE49-F238E27FC236}">
                            <a16:creationId xmlns:a16="http://schemas.microsoft.com/office/drawing/2014/main" id="{5E93011A-78BD-4029-BBDA-EE0D29FB79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9EA3DFB-0AB7-4610-B4A4-316F7F6B71FF}"/>
              </a:ext>
            </a:extLst>
          </p:cNvPr>
          <p:cNvSpPr>
            <a:spLocks noGrp="1"/>
          </p:cNvSpPr>
          <p:nvPr>
            <p:ph type="title"/>
          </p:nvPr>
        </p:nvSpPr>
        <p:spPr>
          <a:xfrm>
            <a:off x="533400" y="1013012"/>
            <a:ext cx="4666129" cy="905436"/>
          </a:xfrm>
          <a:prstGeom prst="rect">
            <a:avLst/>
          </a:prstGeom>
        </p:spPr>
        <p:txBody>
          <a:bodyPr vert="horz" anchor="b"/>
          <a:lstStyle>
            <a:lvl1pPr rtl="0">
              <a:defRPr sz="2800" cap="all" baseline="0"/>
            </a:lvl1pPr>
          </a:lstStyle>
          <a:p>
            <a:r>
              <a:rPr lang="en-US" dirty="0"/>
              <a:t>Click to edit Master title style</a:t>
            </a:r>
          </a:p>
        </p:txBody>
      </p:sp>
      <p:cxnSp>
        <p:nvCxnSpPr>
          <p:cNvPr id="10" name="Straight Connector 9">
            <a:extLst>
              <a:ext uri="{FF2B5EF4-FFF2-40B4-BE49-F238E27FC236}">
                <a16:creationId xmlns:a16="http://schemas.microsoft.com/office/drawing/2014/main" id="{5A1C879D-2706-4ECA-B0BA-11FEE010E1E1}"/>
              </a:ext>
            </a:extLst>
          </p:cNvPr>
          <p:cNvCxnSpPr>
            <a:cxnSpLocks/>
          </p:cNvCxnSpPr>
          <p:nvPr userDrawn="1"/>
        </p:nvCxnSpPr>
        <p:spPr>
          <a:xfrm flipH="1">
            <a:off x="600635" y="1976717"/>
            <a:ext cx="313766"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096126C-CE19-4811-AFF2-D6D707095734}"/>
              </a:ext>
            </a:extLst>
          </p:cNvPr>
          <p:cNvSpPr/>
          <p:nvPr userDrawn="1"/>
        </p:nvSpPr>
        <p:spPr>
          <a:xfrm>
            <a:off x="360218" y="6142182"/>
            <a:ext cx="2429164" cy="439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Text Placeholder 2">
            <a:extLst>
              <a:ext uri="{FF2B5EF4-FFF2-40B4-BE49-F238E27FC236}">
                <a16:creationId xmlns:a16="http://schemas.microsoft.com/office/drawing/2014/main" id="{5AAFEC02-985D-4370-BD47-EF61275E5C57}"/>
              </a:ext>
            </a:extLst>
          </p:cNvPr>
          <p:cNvSpPr>
            <a:spLocks noGrp="1"/>
          </p:cNvSpPr>
          <p:nvPr>
            <p:ph type="body" sz="quarter" idx="11"/>
          </p:nvPr>
        </p:nvSpPr>
        <p:spPr>
          <a:xfrm>
            <a:off x="6248401" y="1013011"/>
            <a:ext cx="5410197" cy="5397021"/>
          </a:xfrm>
          <a:prstGeom prst="rect">
            <a:avLst/>
          </a:prstGeom>
        </p:spPr>
        <p:txBody>
          <a:bodyPr/>
          <a:lstStyle>
            <a:lvl1pPr rtl="0">
              <a:defRPr sz="2000"/>
            </a:lvl1pPr>
            <a:lvl2pPr rtl="0">
              <a:defRPr sz="1800"/>
            </a:lvl2pPr>
            <a:lvl3pPr rtl="0">
              <a:defRPr sz="1600"/>
            </a:lvl3pPr>
            <a:lvl4pPr rtl="0">
              <a:defRPr sz="1400"/>
            </a:lvl4pPr>
            <a:lvl5pPr rtl="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3">
            <a:extLst>
              <a:ext uri="{FF2B5EF4-FFF2-40B4-BE49-F238E27FC236}">
                <a16:creationId xmlns:a16="http://schemas.microsoft.com/office/drawing/2014/main" id="{E6FAD561-B931-4B75-91CF-42129561DBE2}"/>
              </a:ext>
            </a:extLst>
          </p:cNvPr>
          <p:cNvSpPr>
            <a:spLocks noGrp="1"/>
          </p:cNvSpPr>
          <p:nvPr>
            <p:ph type="pic" sz="quarter" idx="10"/>
          </p:nvPr>
        </p:nvSpPr>
        <p:spPr>
          <a:xfrm>
            <a:off x="533400" y="2261957"/>
            <a:ext cx="4451749" cy="4447250"/>
          </a:xfrm>
          <a:prstGeom prst="ellipse">
            <a:avLst/>
          </a:prstGeom>
        </p:spPr>
        <p:txBody>
          <a:bodyPr/>
          <a:lstStyle/>
          <a:p>
            <a:endParaRPr lang="en-US"/>
          </a:p>
        </p:txBody>
      </p:sp>
      <p:sp>
        <p:nvSpPr>
          <p:cNvPr id="13" name="Arc 12">
            <a:extLst>
              <a:ext uri="{FF2B5EF4-FFF2-40B4-BE49-F238E27FC236}">
                <a16:creationId xmlns:a16="http://schemas.microsoft.com/office/drawing/2014/main" id="{FCDBE6E3-B743-4658-983F-BD6A1D46E17B}"/>
              </a:ext>
            </a:extLst>
          </p:cNvPr>
          <p:cNvSpPr/>
          <p:nvPr userDrawn="1"/>
        </p:nvSpPr>
        <p:spPr>
          <a:xfrm rot="486420" flipH="1">
            <a:off x="1485467" y="2282261"/>
            <a:ext cx="3823086" cy="4462145"/>
          </a:xfrm>
          <a:prstGeom prst="arc">
            <a:avLst>
              <a:gd name="adj1" fmla="val 12418904"/>
              <a:gd name="adj2" fmla="val 14682170"/>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5" name="Arc 14">
            <a:extLst>
              <a:ext uri="{FF2B5EF4-FFF2-40B4-BE49-F238E27FC236}">
                <a16:creationId xmlns:a16="http://schemas.microsoft.com/office/drawing/2014/main" id="{CB581E23-2C68-4E3F-9D49-900002047F6C}"/>
              </a:ext>
            </a:extLst>
          </p:cNvPr>
          <p:cNvSpPr/>
          <p:nvPr userDrawn="1"/>
        </p:nvSpPr>
        <p:spPr>
          <a:xfrm rot="486420" flipH="1">
            <a:off x="1394480" y="2340962"/>
            <a:ext cx="3823085" cy="4755878"/>
          </a:xfrm>
          <a:prstGeom prst="arc">
            <a:avLst>
              <a:gd name="adj1" fmla="val 10447157"/>
              <a:gd name="adj2" fmla="val 14671730"/>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4" name="Text Placeholder 8">
            <a:extLst>
              <a:ext uri="{FF2B5EF4-FFF2-40B4-BE49-F238E27FC236}">
                <a16:creationId xmlns:a16="http://schemas.microsoft.com/office/drawing/2014/main" id="{6E54E25E-F424-41B1-89CC-CB91526C1C77}"/>
              </a:ext>
            </a:extLst>
          </p:cNvPr>
          <p:cNvSpPr>
            <a:spLocks noGrp="1"/>
          </p:cNvSpPr>
          <p:nvPr>
            <p:ph type="body" sz="quarter" idx="12" hasCustomPrompt="1"/>
          </p:nvPr>
        </p:nvSpPr>
        <p:spPr>
          <a:xfrm>
            <a:off x="11522528" y="153085"/>
            <a:ext cx="669471" cy="544513"/>
          </a:xfrm>
          <a:prstGeom prst="rect">
            <a:avLst/>
          </a:prstGeom>
        </p:spPr>
        <p:txBody>
          <a:bodyPr/>
          <a:lstStyle>
            <a:lvl1pPr marL="0" indent="0" rtl="0">
              <a:buNone/>
              <a:defRPr>
                <a:solidFill>
                  <a:schemeClr val="bg2"/>
                </a:solidFill>
                <a:latin typeface="+mj-lt"/>
              </a:defRPr>
            </a:lvl1pPr>
          </a:lstStyle>
          <a:p>
            <a:pPr lvl="0"/>
            <a:r>
              <a:rPr lang="en-US" dirty="0"/>
              <a:t>#</a:t>
            </a:r>
          </a:p>
        </p:txBody>
      </p:sp>
    </p:spTree>
    <p:extLst>
      <p:ext uri="{BB962C8B-B14F-4D97-AF65-F5344CB8AC3E}">
        <p14:creationId xmlns:p14="http://schemas.microsoft.com/office/powerpoint/2010/main" val="19029003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 page number log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62DB7F-8C21-4765-8CE1-32D42F414992}"/>
              </a:ext>
            </a:extLst>
          </p:cNvPr>
          <p:cNvGraphicFramePr>
            <a:graphicFrameLocks noChangeAspect="1"/>
          </p:cNvGraphicFramePr>
          <p:nvPr userDrawn="1">
            <p:custDataLst>
              <p:tags r:id="rId1"/>
            </p:custDataLst>
            <p:extLst>
              <p:ext uri="{D42A27DB-BD31-4B8C-83A1-F6EECF244321}">
                <p14:modId xmlns:p14="http://schemas.microsoft.com/office/powerpoint/2010/main" val="367976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5362DB7F-8C21-4765-8CE1-32D42F4149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9786D2C7-4596-4C79-9772-5A9CF300C743}"/>
              </a:ext>
            </a:extLst>
          </p:cNvPr>
          <p:cNvSpPr>
            <a:spLocks noGrp="1"/>
          </p:cNvSpPr>
          <p:nvPr>
            <p:ph type="body" sz="quarter" idx="11" hasCustomPrompt="1"/>
          </p:nvPr>
        </p:nvSpPr>
        <p:spPr>
          <a:xfrm>
            <a:off x="11522528" y="153085"/>
            <a:ext cx="669471" cy="544513"/>
          </a:xfrm>
          <a:prstGeom prst="rect">
            <a:avLst/>
          </a:prstGeom>
        </p:spPr>
        <p:txBody>
          <a:bodyPr/>
          <a:lstStyle>
            <a:lvl1pPr marL="0" indent="0" rtl="0">
              <a:buNone/>
              <a:defRPr>
                <a:solidFill>
                  <a:schemeClr val="tx2"/>
                </a:solidFill>
                <a:latin typeface="+mj-lt"/>
              </a:defRPr>
            </a:lvl1pPr>
          </a:lstStyle>
          <a:p>
            <a:pPr lvl="0"/>
            <a:r>
              <a:rPr lang="en-US" dirty="0"/>
              <a:t>#</a:t>
            </a:r>
          </a:p>
        </p:txBody>
      </p:sp>
    </p:spTree>
    <p:extLst>
      <p:ext uri="{BB962C8B-B14F-4D97-AF65-F5344CB8AC3E}">
        <p14:creationId xmlns:p14="http://schemas.microsoft.com/office/powerpoint/2010/main" val="237705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73A370-9464-457C-8675-35BB19CA65DE}"/>
              </a:ext>
            </a:extLst>
          </p:cNvPr>
          <p:cNvGraphicFramePr>
            <a:graphicFrameLocks noChangeAspect="1"/>
          </p:cNvGraphicFramePr>
          <p:nvPr userDrawn="1">
            <p:custDataLst>
              <p:tags r:id="rId1"/>
            </p:custDataLst>
            <p:extLst>
              <p:ext uri="{D42A27DB-BD31-4B8C-83A1-F6EECF244321}">
                <p14:modId xmlns:p14="http://schemas.microsoft.com/office/powerpoint/2010/main" val="238125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473A370-9464-457C-8675-35BB19CA65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A2A4C0B-C124-4D8D-810D-FDAAD6592F31}"/>
              </a:ext>
            </a:extLst>
          </p:cNvPr>
          <p:cNvSpPr/>
          <p:nvPr userDrawn="1"/>
        </p:nvSpPr>
        <p:spPr>
          <a:xfrm>
            <a:off x="73741" y="91443"/>
            <a:ext cx="1720646" cy="816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5" name="Rectangle 4">
            <a:extLst>
              <a:ext uri="{FF2B5EF4-FFF2-40B4-BE49-F238E27FC236}">
                <a16:creationId xmlns:a16="http://schemas.microsoft.com/office/drawing/2014/main" id="{EB47C545-DD49-44DB-92B3-56FDDC3558B7}"/>
              </a:ext>
            </a:extLst>
          </p:cNvPr>
          <p:cNvSpPr/>
          <p:nvPr userDrawn="1"/>
        </p:nvSpPr>
        <p:spPr>
          <a:xfrm>
            <a:off x="73741" y="5839869"/>
            <a:ext cx="2561303" cy="816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6" name="Rectangle 5">
            <a:extLst>
              <a:ext uri="{FF2B5EF4-FFF2-40B4-BE49-F238E27FC236}">
                <a16:creationId xmlns:a16="http://schemas.microsoft.com/office/drawing/2014/main" id="{F3BDEDA7-B7AC-40A7-BE12-2768CB276578}"/>
              </a:ext>
            </a:extLst>
          </p:cNvPr>
          <p:cNvSpPr/>
          <p:nvPr userDrawn="1"/>
        </p:nvSpPr>
        <p:spPr>
          <a:xfrm>
            <a:off x="4650657" y="6041923"/>
            <a:ext cx="2561303" cy="816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3135732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Image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F1097F-377C-402C-BF54-C16D9AF6C4D1}"/>
              </a:ext>
            </a:extLst>
          </p:cNvPr>
          <p:cNvGraphicFramePr>
            <a:graphicFrameLocks noChangeAspect="1"/>
          </p:cNvGraphicFramePr>
          <p:nvPr userDrawn="1">
            <p:custDataLst>
              <p:tags r:id="rId1"/>
            </p:custDataLst>
            <p:extLst>
              <p:ext uri="{D42A27DB-BD31-4B8C-83A1-F6EECF244321}">
                <p14:modId xmlns:p14="http://schemas.microsoft.com/office/powerpoint/2010/main" val="376335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EF1097F-377C-402C-BF54-C16D9AF6C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14" name="Rectangle 13">
            <a:extLst>
              <a:ext uri="{FF2B5EF4-FFF2-40B4-BE49-F238E27FC236}">
                <a16:creationId xmlns:a16="http://schemas.microsoft.com/office/drawing/2014/main" id="{91DC8C80-CCFB-4193-97AC-12AB4CA7094A}"/>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25954525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and Image - 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9AE261-EDBF-47A6-AF78-107597461098}"/>
              </a:ext>
            </a:extLst>
          </p:cNvPr>
          <p:cNvGraphicFramePr>
            <a:graphicFrameLocks noChangeAspect="1"/>
          </p:cNvGraphicFramePr>
          <p:nvPr userDrawn="1">
            <p:custDataLst>
              <p:tags r:id="rId1"/>
            </p:custDataLst>
            <p:extLst>
              <p:ext uri="{D42A27DB-BD31-4B8C-83A1-F6EECF244321}">
                <p14:modId xmlns:p14="http://schemas.microsoft.com/office/powerpoint/2010/main" val="242101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349AE261-EDBF-47A6-AF78-1075974610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6" name="Rectangle 5">
            <a:extLst>
              <a:ext uri="{FF2B5EF4-FFF2-40B4-BE49-F238E27FC236}">
                <a16:creationId xmlns:a16="http://schemas.microsoft.com/office/drawing/2014/main" id="{DBAFC930-9629-4B54-B922-0EC23A6BB751}"/>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8573684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Image - gre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C835E4-09E1-4FC4-B93A-FA3ED1D792E9}"/>
              </a:ext>
            </a:extLst>
          </p:cNvPr>
          <p:cNvGraphicFramePr>
            <a:graphicFrameLocks noChangeAspect="1"/>
          </p:cNvGraphicFramePr>
          <p:nvPr userDrawn="1">
            <p:custDataLst>
              <p:tags r:id="rId1"/>
            </p:custDataLst>
            <p:extLst>
              <p:ext uri="{D42A27DB-BD31-4B8C-83A1-F6EECF244321}">
                <p14:modId xmlns:p14="http://schemas.microsoft.com/office/powerpoint/2010/main" val="14948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85C835E4-09E1-4FC4-B93A-FA3ED1D792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6" name="Rectangle 5">
            <a:extLst>
              <a:ext uri="{FF2B5EF4-FFF2-40B4-BE49-F238E27FC236}">
                <a16:creationId xmlns:a16="http://schemas.microsoft.com/office/drawing/2014/main" id="{957C56DF-EA9F-47A7-B920-B471BFB2D603}"/>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1205666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 yellow">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92544A-F379-4BC1-B47D-1B0250F26654}"/>
              </a:ext>
            </a:extLst>
          </p:cNvPr>
          <p:cNvGraphicFramePr>
            <a:graphicFrameLocks noChangeAspect="1"/>
          </p:cNvGraphicFramePr>
          <p:nvPr userDrawn="1">
            <p:custDataLst>
              <p:tags r:id="rId1"/>
            </p:custDataLst>
            <p:extLst>
              <p:ext uri="{D42A27DB-BD31-4B8C-83A1-F6EECF244321}">
                <p14:modId xmlns:p14="http://schemas.microsoft.com/office/powerpoint/2010/main" val="1586919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BB92544A-F379-4BC1-B47D-1B0250F266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6" name="Rectangle 5">
            <a:extLst>
              <a:ext uri="{FF2B5EF4-FFF2-40B4-BE49-F238E27FC236}">
                <a16:creationId xmlns:a16="http://schemas.microsoft.com/office/drawing/2014/main" id="{5A70F96F-88D3-46F1-A322-B1E2772A59E8}"/>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1209251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nd Image - blac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26B35B-759A-43E9-AE42-1586E32CB4F8}"/>
              </a:ext>
            </a:extLst>
          </p:cNvPr>
          <p:cNvGraphicFramePr>
            <a:graphicFrameLocks noChangeAspect="1"/>
          </p:cNvGraphicFramePr>
          <p:nvPr userDrawn="1">
            <p:custDataLst>
              <p:tags r:id="rId1"/>
            </p:custDataLst>
            <p:extLst>
              <p:ext uri="{D42A27DB-BD31-4B8C-83A1-F6EECF244321}">
                <p14:modId xmlns:p14="http://schemas.microsoft.com/office/powerpoint/2010/main" val="3713668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4726B35B-759A-43E9-AE42-1586E32CB4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9FACFB6C-47AB-4D39-AE45-2C0B97BD28A2}"/>
              </a:ext>
            </a:extLst>
          </p:cNvPr>
          <p:cNvSpPr>
            <a:spLocks noGrp="1"/>
          </p:cNvSpPr>
          <p:nvPr>
            <p:ph type="pic" sz="quarter" idx="10"/>
          </p:nvPr>
        </p:nvSpPr>
        <p:spPr>
          <a:xfrm>
            <a:off x="6957427" y="0"/>
            <a:ext cx="5239455" cy="6858000"/>
          </a:xfrm>
          <a:custGeom>
            <a:avLst/>
            <a:gdLst>
              <a:gd name="connsiteX0" fmla="*/ 0 w 6738937"/>
              <a:gd name="connsiteY0" fmla="*/ 0 h 6858000"/>
              <a:gd name="connsiteX1" fmla="*/ 3369469 w 6738937"/>
              <a:gd name="connsiteY1" fmla="*/ 0 h 6858000"/>
              <a:gd name="connsiteX2" fmla="*/ 6738938 w 6738937"/>
              <a:gd name="connsiteY2" fmla="*/ 3429000 h 6858000"/>
              <a:gd name="connsiteX3" fmla="*/ 3369469 w 6738937"/>
              <a:gd name="connsiteY3" fmla="*/ 6858000 h 6858000"/>
              <a:gd name="connsiteX4" fmla="*/ 0 w 6738937"/>
              <a:gd name="connsiteY4" fmla="*/ 6858000 h 6858000"/>
              <a:gd name="connsiteX5" fmla="*/ 0 w 6738937"/>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0 w 7685878"/>
              <a:gd name="connsiteY5" fmla="*/ 0 h 6858000"/>
              <a:gd name="connsiteX0" fmla="*/ 0 w 7685878"/>
              <a:gd name="connsiteY0" fmla="*/ 0 h 6858000"/>
              <a:gd name="connsiteX1" fmla="*/ 6711383 w 7685878"/>
              <a:gd name="connsiteY1" fmla="*/ 0 h 6858000"/>
              <a:gd name="connsiteX2" fmla="*/ 6738938 w 7685878"/>
              <a:gd name="connsiteY2" fmla="*/ 3429000 h 6858000"/>
              <a:gd name="connsiteX3" fmla="*/ 3369469 w 7685878"/>
              <a:gd name="connsiteY3" fmla="*/ 6858000 h 6858000"/>
              <a:gd name="connsiteX4" fmla="*/ 0 w 7685878"/>
              <a:gd name="connsiteY4" fmla="*/ 6858000 h 6858000"/>
              <a:gd name="connsiteX5" fmla="*/ 679 w 7685878"/>
              <a:gd name="connsiteY5" fmla="*/ 3320143 h 6858000"/>
              <a:gd name="connsiteX6" fmla="*/ 0 w 7685878"/>
              <a:gd name="connsiteY6" fmla="*/ 0 h 6858000"/>
              <a:gd name="connsiteX0" fmla="*/ 891949 w 8577827"/>
              <a:gd name="connsiteY0" fmla="*/ 0 h 6858000"/>
              <a:gd name="connsiteX1" fmla="*/ 7603332 w 8577827"/>
              <a:gd name="connsiteY1" fmla="*/ 0 h 6858000"/>
              <a:gd name="connsiteX2" fmla="*/ 7630887 w 8577827"/>
              <a:gd name="connsiteY2" fmla="*/ 3429000 h 6858000"/>
              <a:gd name="connsiteX3" fmla="*/ 4261418 w 8577827"/>
              <a:gd name="connsiteY3" fmla="*/ 6858000 h 6858000"/>
              <a:gd name="connsiteX4" fmla="*/ 891949 w 8577827"/>
              <a:gd name="connsiteY4" fmla="*/ 6858000 h 6858000"/>
              <a:gd name="connsiteX5" fmla="*/ 0 w 8577827"/>
              <a:gd name="connsiteY5" fmla="*/ 3363686 h 6858000"/>
              <a:gd name="connsiteX6" fmla="*/ 891949 w 8577827"/>
              <a:gd name="connsiteY6" fmla="*/ 0 h 6858000"/>
              <a:gd name="connsiteX0" fmla="*/ 891949 w 7677292"/>
              <a:gd name="connsiteY0" fmla="*/ 0 h 6858000"/>
              <a:gd name="connsiteX1" fmla="*/ 7603332 w 7677292"/>
              <a:gd name="connsiteY1" fmla="*/ 0 h 6858000"/>
              <a:gd name="connsiteX2" fmla="*/ 4261418 w 7677292"/>
              <a:gd name="connsiteY2" fmla="*/ 6858000 h 6858000"/>
              <a:gd name="connsiteX3" fmla="*/ 891949 w 7677292"/>
              <a:gd name="connsiteY3" fmla="*/ 6858000 h 6858000"/>
              <a:gd name="connsiteX4" fmla="*/ 0 w 7677292"/>
              <a:gd name="connsiteY4" fmla="*/ 3363686 h 6858000"/>
              <a:gd name="connsiteX5" fmla="*/ 891949 w 7677292"/>
              <a:gd name="connsiteY5" fmla="*/ 0 h 6858000"/>
              <a:gd name="connsiteX0" fmla="*/ 891949 w 8263313"/>
              <a:gd name="connsiteY0" fmla="*/ 0 h 6858000"/>
              <a:gd name="connsiteX1" fmla="*/ 7603332 w 8263313"/>
              <a:gd name="connsiteY1" fmla="*/ 0 h 6858000"/>
              <a:gd name="connsiteX2" fmla="*/ 7625104 w 8263313"/>
              <a:gd name="connsiteY2" fmla="*/ 6858000 h 6858000"/>
              <a:gd name="connsiteX3" fmla="*/ 891949 w 8263313"/>
              <a:gd name="connsiteY3" fmla="*/ 6858000 h 6858000"/>
              <a:gd name="connsiteX4" fmla="*/ 0 w 8263313"/>
              <a:gd name="connsiteY4" fmla="*/ 3363686 h 6858000"/>
              <a:gd name="connsiteX5" fmla="*/ 891949 w 8263313"/>
              <a:gd name="connsiteY5" fmla="*/ 0 h 6858000"/>
              <a:gd name="connsiteX0" fmla="*/ 891949 w 7858079"/>
              <a:gd name="connsiteY0" fmla="*/ 0 h 6858000"/>
              <a:gd name="connsiteX1" fmla="*/ 7603332 w 7858079"/>
              <a:gd name="connsiteY1" fmla="*/ 0 h 6858000"/>
              <a:gd name="connsiteX2" fmla="*/ 7625104 w 7858079"/>
              <a:gd name="connsiteY2" fmla="*/ 6858000 h 6858000"/>
              <a:gd name="connsiteX3" fmla="*/ 891949 w 7858079"/>
              <a:gd name="connsiteY3" fmla="*/ 6858000 h 6858000"/>
              <a:gd name="connsiteX4" fmla="*/ 0 w 7858079"/>
              <a:gd name="connsiteY4" fmla="*/ 3363686 h 6858000"/>
              <a:gd name="connsiteX5" fmla="*/ 891949 w 7858079"/>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36602"/>
              <a:gd name="connsiteY0" fmla="*/ 0 h 6858000"/>
              <a:gd name="connsiteX1" fmla="*/ 7603332 w 7636602"/>
              <a:gd name="connsiteY1" fmla="*/ 0 h 6858000"/>
              <a:gd name="connsiteX2" fmla="*/ 7625104 w 7636602"/>
              <a:gd name="connsiteY2" fmla="*/ 6858000 h 6858000"/>
              <a:gd name="connsiteX3" fmla="*/ 891949 w 7636602"/>
              <a:gd name="connsiteY3" fmla="*/ 6858000 h 6858000"/>
              <a:gd name="connsiteX4" fmla="*/ 0 w 7636602"/>
              <a:gd name="connsiteY4" fmla="*/ 3363686 h 6858000"/>
              <a:gd name="connsiteX5" fmla="*/ 891949 w 7636602"/>
              <a:gd name="connsiteY5" fmla="*/ 0 h 6858000"/>
              <a:gd name="connsiteX0" fmla="*/ 891949 w 7658256"/>
              <a:gd name="connsiteY0" fmla="*/ 0 h 6858000"/>
              <a:gd name="connsiteX1" fmla="*/ 7633812 w 7658256"/>
              <a:gd name="connsiteY1" fmla="*/ 0 h 6858000"/>
              <a:gd name="connsiteX2" fmla="*/ 7625104 w 7658256"/>
              <a:gd name="connsiteY2" fmla="*/ 6858000 h 6858000"/>
              <a:gd name="connsiteX3" fmla="*/ 891949 w 7658256"/>
              <a:gd name="connsiteY3" fmla="*/ 6858000 h 6858000"/>
              <a:gd name="connsiteX4" fmla="*/ 0 w 7658256"/>
              <a:gd name="connsiteY4" fmla="*/ 3363686 h 6858000"/>
              <a:gd name="connsiteX5" fmla="*/ 891949 w 7658256"/>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3812"/>
              <a:gd name="connsiteY0" fmla="*/ 0 h 6858000"/>
              <a:gd name="connsiteX1" fmla="*/ 7633812 w 7633812"/>
              <a:gd name="connsiteY1" fmla="*/ 0 h 6858000"/>
              <a:gd name="connsiteX2" fmla="*/ 7625104 w 7633812"/>
              <a:gd name="connsiteY2" fmla="*/ 6858000 h 6858000"/>
              <a:gd name="connsiteX3" fmla="*/ 891949 w 7633812"/>
              <a:gd name="connsiteY3" fmla="*/ 6858000 h 6858000"/>
              <a:gd name="connsiteX4" fmla="*/ 0 w 7633812"/>
              <a:gd name="connsiteY4" fmla="*/ 3363686 h 6858000"/>
              <a:gd name="connsiteX5" fmla="*/ 891949 w 7633812"/>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891949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995581 w 7635769"/>
              <a:gd name="connsiteY3" fmla="*/ 6858000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58000"/>
              <a:gd name="connsiteX1" fmla="*/ 7633812 w 7635769"/>
              <a:gd name="connsiteY1" fmla="*/ 0 h 6858000"/>
              <a:gd name="connsiteX2" fmla="*/ 7625104 w 7635769"/>
              <a:gd name="connsiteY2" fmla="*/ 6858000 h 6858000"/>
              <a:gd name="connsiteX3" fmla="*/ 1196749 w 7635769"/>
              <a:gd name="connsiteY3" fmla="*/ 6534912 h 6858000"/>
              <a:gd name="connsiteX4" fmla="*/ 0 w 7635769"/>
              <a:gd name="connsiteY4" fmla="*/ 3363686 h 6858000"/>
              <a:gd name="connsiteX5" fmla="*/ 891949 w 7635769"/>
              <a:gd name="connsiteY5" fmla="*/ 0 h 6858000"/>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891949 w 7635769"/>
              <a:gd name="connsiteY0" fmla="*/ 0 h 6864096"/>
              <a:gd name="connsiteX1" fmla="*/ 7633812 w 7635769"/>
              <a:gd name="connsiteY1" fmla="*/ 0 h 6864096"/>
              <a:gd name="connsiteX2" fmla="*/ 7625104 w 7635769"/>
              <a:gd name="connsiteY2" fmla="*/ 6858000 h 6864096"/>
              <a:gd name="connsiteX3" fmla="*/ 1147981 w 7635769"/>
              <a:gd name="connsiteY3" fmla="*/ 6864096 h 6864096"/>
              <a:gd name="connsiteX4" fmla="*/ 0 w 7635769"/>
              <a:gd name="connsiteY4" fmla="*/ 3363686 h 6864096"/>
              <a:gd name="connsiteX5" fmla="*/ 891949 w 7635769"/>
              <a:gd name="connsiteY5" fmla="*/ 0 h 6864096"/>
              <a:gd name="connsiteX0" fmla="*/ 1160890 w 7904710"/>
              <a:gd name="connsiteY0" fmla="*/ 0 h 6864096"/>
              <a:gd name="connsiteX1" fmla="*/ 7902753 w 7904710"/>
              <a:gd name="connsiteY1" fmla="*/ 0 h 6864096"/>
              <a:gd name="connsiteX2" fmla="*/ 7894045 w 7904710"/>
              <a:gd name="connsiteY2" fmla="*/ 6858000 h 6864096"/>
              <a:gd name="connsiteX3" fmla="*/ 1416922 w 7904710"/>
              <a:gd name="connsiteY3" fmla="*/ 6864096 h 6864096"/>
              <a:gd name="connsiteX4" fmla="*/ 0 w 7904710"/>
              <a:gd name="connsiteY4" fmla="*/ 3202321 h 6864096"/>
              <a:gd name="connsiteX5" fmla="*/ 1160890 w 7904710"/>
              <a:gd name="connsiteY5" fmla="*/ 0 h 6864096"/>
              <a:gd name="connsiteX0" fmla="*/ 1168210 w 7912030"/>
              <a:gd name="connsiteY0" fmla="*/ 0 h 6864096"/>
              <a:gd name="connsiteX1" fmla="*/ 7910073 w 7912030"/>
              <a:gd name="connsiteY1" fmla="*/ 0 h 6864096"/>
              <a:gd name="connsiteX2" fmla="*/ 7901365 w 7912030"/>
              <a:gd name="connsiteY2" fmla="*/ 6858000 h 6864096"/>
              <a:gd name="connsiteX3" fmla="*/ 1424242 w 7912030"/>
              <a:gd name="connsiteY3" fmla="*/ 6864096 h 6864096"/>
              <a:gd name="connsiteX4" fmla="*/ 7320 w 7912030"/>
              <a:gd name="connsiteY4" fmla="*/ 3202321 h 6864096"/>
              <a:gd name="connsiteX5" fmla="*/ 1168210 w 7912030"/>
              <a:gd name="connsiteY5" fmla="*/ 0 h 6864096"/>
              <a:gd name="connsiteX0" fmla="*/ 1171015 w 7914835"/>
              <a:gd name="connsiteY0" fmla="*/ 0 h 6864096"/>
              <a:gd name="connsiteX1" fmla="*/ 7912878 w 7914835"/>
              <a:gd name="connsiteY1" fmla="*/ 0 h 6864096"/>
              <a:gd name="connsiteX2" fmla="*/ 7904170 w 7914835"/>
              <a:gd name="connsiteY2" fmla="*/ 6858000 h 6864096"/>
              <a:gd name="connsiteX3" fmla="*/ 1427047 w 7914835"/>
              <a:gd name="connsiteY3" fmla="*/ 6864096 h 6864096"/>
              <a:gd name="connsiteX4" fmla="*/ 10125 w 7914835"/>
              <a:gd name="connsiteY4" fmla="*/ 3202321 h 6864096"/>
              <a:gd name="connsiteX5" fmla="*/ 1171015 w 7914835"/>
              <a:gd name="connsiteY5" fmla="*/ 0 h 6864096"/>
              <a:gd name="connsiteX0" fmla="*/ 1171660 w 7915480"/>
              <a:gd name="connsiteY0" fmla="*/ 0 h 6864096"/>
              <a:gd name="connsiteX1" fmla="*/ 7913523 w 7915480"/>
              <a:gd name="connsiteY1" fmla="*/ 0 h 6864096"/>
              <a:gd name="connsiteX2" fmla="*/ 7904815 w 7915480"/>
              <a:gd name="connsiteY2" fmla="*/ 6858000 h 6864096"/>
              <a:gd name="connsiteX3" fmla="*/ 1427692 w 7915480"/>
              <a:gd name="connsiteY3" fmla="*/ 6864096 h 6864096"/>
              <a:gd name="connsiteX4" fmla="*/ 10770 w 7915480"/>
              <a:gd name="connsiteY4" fmla="*/ 3202321 h 6864096"/>
              <a:gd name="connsiteX5" fmla="*/ 1171660 w 7915480"/>
              <a:gd name="connsiteY5" fmla="*/ 0 h 6864096"/>
              <a:gd name="connsiteX0" fmla="*/ 1173670 w 7917490"/>
              <a:gd name="connsiteY0" fmla="*/ 0 h 6864096"/>
              <a:gd name="connsiteX1" fmla="*/ 7915533 w 7917490"/>
              <a:gd name="connsiteY1" fmla="*/ 0 h 6864096"/>
              <a:gd name="connsiteX2" fmla="*/ 7906825 w 7917490"/>
              <a:gd name="connsiteY2" fmla="*/ 6858000 h 6864096"/>
              <a:gd name="connsiteX3" fmla="*/ 1429702 w 7917490"/>
              <a:gd name="connsiteY3" fmla="*/ 6864096 h 6864096"/>
              <a:gd name="connsiteX4" fmla="*/ 12780 w 7917490"/>
              <a:gd name="connsiteY4" fmla="*/ 3202321 h 6864096"/>
              <a:gd name="connsiteX5" fmla="*/ 1173670 w 7917490"/>
              <a:gd name="connsiteY5" fmla="*/ 0 h 6864096"/>
              <a:gd name="connsiteX0" fmla="*/ 1178870 w 7922690"/>
              <a:gd name="connsiteY0" fmla="*/ 0 h 6864096"/>
              <a:gd name="connsiteX1" fmla="*/ 7920733 w 7922690"/>
              <a:gd name="connsiteY1" fmla="*/ 0 h 6864096"/>
              <a:gd name="connsiteX2" fmla="*/ 7912025 w 7922690"/>
              <a:gd name="connsiteY2" fmla="*/ 6858000 h 6864096"/>
              <a:gd name="connsiteX3" fmla="*/ 1434902 w 7922690"/>
              <a:gd name="connsiteY3" fmla="*/ 6864096 h 6864096"/>
              <a:gd name="connsiteX4" fmla="*/ 17980 w 7922690"/>
              <a:gd name="connsiteY4" fmla="*/ 3202321 h 6864096"/>
              <a:gd name="connsiteX5" fmla="*/ 1178870 w 7922690"/>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96131 w 7939951"/>
              <a:gd name="connsiteY0" fmla="*/ 0 h 6864096"/>
              <a:gd name="connsiteX1" fmla="*/ 7937994 w 7939951"/>
              <a:gd name="connsiteY1" fmla="*/ 0 h 6864096"/>
              <a:gd name="connsiteX2" fmla="*/ 7929286 w 7939951"/>
              <a:gd name="connsiteY2" fmla="*/ 6858000 h 6864096"/>
              <a:gd name="connsiteX3" fmla="*/ 1452163 w 7939951"/>
              <a:gd name="connsiteY3" fmla="*/ 6864096 h 6864096"/>
              <a:gd name="connsiteX4" fmla="*/ 17311 w 7939951"/>
              <a:gd name="connsiteY4" fmla="*/ 3202321 h 6864096"/>
              <a:gd name="connsiteX5" fmla="*/ 1196131 w 7939951"/>
              <a:gd name="connsiteY5" fmla="*/ 0 h 6864096"/>
              <a:gd name="connsiteX0" fmla="*/ 1180850 w 7924670"/>
              <a:gd name="connsiteY0" fmla="*/ 0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1180850 w 7924670"/>
              <a:gd name="connsiteY5" fmla="*/ 0 h 6864096"/>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21109 w 7924670"/>
              <a:gd name="connsiteY0" fmla="*/ 0 h 6873060"/>
              <a:gd name="connsiteX1" fmla="*/ 7922713 w 7924670"/>
              <a:gd name="connsiteY1" fmla="*/ 8964 h 6873060"/>
              <a:gd name="connsiteX2" fmla="*/ 7914005 w 7924670"/>
              <a:gd name="connsiteY2" fmla="*/ 6866964 h 6873060"/>
              <a:gd name="connsiteX3" fmla="*/ 1436882 w 7924670"/>
              <a:gd name="connsiteY3" fmla="*/ 6873060 h 6873060"/>
              <a:gd name="connsiteX4" fmla="*/ 2030 w 7924670"/>
              <a:gd name="connsiteY4" fmla="*/ 3211285 h 6873060"/>
              <a:gd name="connsiteX5" fmla="*/ 3621109 w 7924670"/>
              <a:gd name="connsiteY5" fmla="*/ 0 h 6873060"/>
              <a:gd name="connsiteX0" fmla="*/ 3661780 w 7924670"/>
              <a:gd name="connsiteY0" fmla="*/ 1 h 6864096"/>
              <a:gd name="connsiteX1" fmla="*/ 7922713 w 7924670"/>
              <a:gd name="connsiteY1" fmla="*/ 0 h 6864096"/>
              <a:gd name="connsiteX2" fmla="*/ 7914005 w 7924670"/>
              <a:gd name="connsiteY2" fmla="*/ 6858000 h 6864096"/>
              <a:gd name="connsiteX3" fmla="*/ 1436882 w 7924670"/>
              <a:gd name="connsiteY3" fmla="*/ 6864096 h 6864096"/>
              <a:gd name="connsiteX4" fmla="*/ 2030 w 7924670"/>
              <a:gd name="connsiteY4" fmla="*/ 3202321 h 6864096"/>
              <a:gd name="connsiteX5" fmla="*/ 3661780 w 7924670"/>
              <a:gd name="connsiteY5" fmla="*/ 1 h 6864096"/>
              <a:gd name="connsiteX0" fmla="*/ 3659976 w 7922866"/>
              <a:gd name="connsiteY0" fmla="*/ 1 h 6858000"/>
              <a:gd name="connsiteX1" fmla="*/ 7920909 w 7922866"/>
              <a:gd name="connsiteY1" fmla="*/ 0 h 6858000"/>
              <a:gd name="connsiteX2" fmla="*/ 7912201 w 7922866"/>
              <a:gd name="connsiteY2" fmla="*/ 6858000 h 6858000"/>
              <a:gd name="connsiteX3" fmla="*/ 3631311 w 7922866"/>
              <a:gd name="connsiteY3" fmla="*/ 6855131 h 6858000"/>
              <a:gd name="connsiteX4" fmla="*/ 226 w 7922866"/>
              <a:gd name="connsiteY4" fmla="*/ 3202321 h 6858000"/>
              <a:gd name="connsiteX5" fmla="*/ 3659976 w 7922866"/>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 name="connsiteX0" fmla="*/ 3660548 w 7923438"/>
              <a:gd name="connsiteY0" fmla="*/ 1 h 6858000"/>
              <a:gd name="connsiteX1" fmla="*/ 7921481 w 7923438"/>
              <a:gd name="connsiteY1" fmla="*/ 0 h 6858000"/>
              <a:gd name="connsiteX2" fmla="*/ 7912773 w 7923438"/>
              <a:gd name="connsiteY2" fmla="*/ 6858000 h 6858000"/>
              <a:gd name="connsiteX3" fmla="*/ 3631883 w 7923438"/>
              <a:gd name="connsiteY3" fmla="*/ 6855131 h 6858000"/>
              <a:gd name="connsiteX4" fmla="*/ 798 w 7923438"/>
              <a:gd name="connsiteY4" fmla="*/ 3202321 h 6858000"/>
              <a:gd name="connsiteX5" fmla="*/ 3660548 w 792343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3438" h="6858000">
                <a:moveTo>
                  <a:pt x="3660548" y="1"/>
                </a:moveTo>
                <a:lnTo>
                  <a:pt x="7921481" y="0"/>
                </a:lnTo>
                <a:cubicBezTo>
                  <a:pt x="7915261" y="1932868"/>
                  <a:pt x="7934492" y="5013524"/>
                  <a:pt x="7912773" y="6858000"/>
                </a:cubicBezTo>
                <a:lnTo>
                  <a:pt x="3631883" y="6855131"/>
                </a:lnTo>
                <a:cubicBezTo>
                  <a:pt x="626543" y="6525698"/>
                  <a:pt x="-26322" y="4336783"/>
                  <a:pt x="798" y="3202321"/>
                </a:cubicBezTo>
                <a:cubicBezTo>
                  <a:pt x="36431" y="1790806"/>
                  <a:pt x="1615453" y="129562"/>
                  <a:pt x="3660548" y="1"/>
                </a:cubicBezTo>
                <a:close/>
              </a:path>
            </a:pathLst>
          </a:custGeom>
        </p:spPr>
        <p:txBody>
          <a:bodyPr/>
          <a:lstStyle/>
          <a:p>
            <a:endParaRPr lang="en-US"/>
          </a:p>
        </p:txBody>
      </p:sp>
      <p:sp>
        <p:nvSpPr>
          <p:cNvPr id="10" name="Arc 9">
            <a:extLst>
              <a:ext uri="{FF2B5EF4-FFF2-40B4-BE49-F238E27FC236}">
                <a16:creationId xmlns:a16="http://schemas.microsoft.com/office/drawing/2014/main" id="{72D2E63E-5B0C-43DE-BECA-B67E15DD771C}"/>
              </a:ext>
            </a:extLst>
          </p:cNvPr>
          <p:cNvSpPr/>
          <p:nvPr userDrawn="1"/>
        </p:nvSpPr>
        <p:spPr>
          <a:xfrm flipH="1">
            <a:off x="6517340" y="-286871"/>
            <a:ext cx="6858000" cy="6858000"/>
          </a:xfrm>
          <a:prstGeom prst="arc">
            <a:avLst>
              <a:gd name="adj1" fmla="val 14770837"/>
              <a:gd name="adj2" fmla="val 7860301"/>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0AE57519-6BE6-4DB1-AC57-BE593FDB2E9E}"/>
              </a:ext>
            </a:extLst>
          </p:cNvPr>
          <p:cNvSpPr/>
          <p:nvPr userDrawn="1"/>
        </p:nvSpPr>
        <p:spPr>
          <a:xfrm flipH="1">
            <a:off x="6587425" y="358588"/>
            <a:ext cx="6858000" cy="6858000"/>
          </a:xfrm>
          <a:prstGeom prst="arc">
            <a:avLst>
              <a:gd name="adj1" fmla="val 2175418"/>
              <a:gd name="adj2" fmla="val 3689218"/>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3" name="Text Placeholder 12">
            <a:extLst>
              <a:ext uri="{FF2B5EF4-FFF2-40B4-BE49-F238E27FC236}">
                <a16:creationId xmlns:a16="http://schemas.microsoft.com/office/drawing/2014/main" id="{BFC314AF-EC3B-47AA-8616-2BDBE99DCEE4}"/>
              </a:ext>
            </a:extLst>
          </p:cNvPr>
          <p:cNvSpPr>
            <a:spLocks noGrp="1"/>
          </p:cNvSpPr>
          <p:nvPr>
            <p:ph type="body" sz="quarter" idx="11" hasCustomPrompt="1"/>
          </p:nvPr>
        </p:nvSpPr>
        <p:spPr>
          <a:xfrm>
            <a:off x="546100" y="950258"/>
            <a:ext cx="5675313" cy="5020329"/>
          </a:xfrm>
          <a:prstGeom prst="rect">
            <a:avLst/>
          </a:prstGeom>
        </p:spPr>
        <p:txBody>
          <a:bodyPr/>
          <a:lstStyle>
            <a:lvl1pPr marL="0" indent="0" rtl="0">
              <a:buNone/>
              <a:defRPr sz="2000"/>
            </a:lvl1pPr>
          </a:lstStyle>
          <a:p>
            <a:pPr lvl="0"/>
            <a:r>
              <a:rPr lang="en-US" dirty="0"/>
              <a:t>Your text goes here</a:t>
            </a:r>
          </a:p>
        </p:txBody>
      </p:sp>
      <p:sp>
        <p:nvSpPr>
          <p:cNvPr id="6" name="Rectangle 5">
            <a:extLst>
              <a:ext uri="{FF2B5EF4-FFF2-40B4-BE49-F238E27FC236}">
                <a16:creationId xmlns:a16="http://schemas.microsoft.com/office/drawing/2014/main" id="{1C9E5F68-23E6-451F-AC94-54D4EFFBDF2A}"/>
              </a:ext>
            </a:extLst>
          </p:cNvPr>
          <p:cNvSpPr/>
          <p:nvPr userDrawn="1"/>
        </p:nvSpPr>
        <p:spPr>
          <a:xfrm>
            <a:off x="12362329" y="4204447"/>
            <a:ext cx="1712259" cy="1434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b="1" dirty="0">
                <a:solidFill>
                  <a:schemeClr val="tx1"/>
                </a:solidFill>
              </a:rPr>
              <a:t>Change the picture’s position by using the Crop option in the Picture Tools tab</a:t>
            </a:r>
          </a:p>
        </p:txBody>
      </p:sp>
    </p:spTree>
    <p:extLst>
      <p:ext uri="{BB962C8B-B14F-4D97-AF65-F5344CB8AC3E}">
        <p14:creationId xmlns:p14="http://schemas.microsoft.com/office/powerpoint/2010/main" val="18260140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 Statement - whi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EEFE8A-FD87-4640-816C-91978279E02A}"/>
              </a:ext>
            </a:extLst>
          </p:cNvPr>
          <p:cNvGraphicFramePr>
            <a:graphicFrameLocks noChangeAspect="1"/>
          </p:cNvGraphicFramePr>
          <p:nvPr userDrawn="1">
            <p:custDataLst>
              <p:tags r:id="rId1"/>
            </p:custDataLst>
            <p:extLst>
              <p:ext uri="{D42A27DB-BD31-4B8C-83A1-F6EECF244321}">
                <p14:modId xmlns:p14="http://schemas.microsoft.com/office/powerpoint/2010/main" val="778197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1EEFE8A-FD87-4640-816C-91978279E0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tx2"/>
                </a:solidFill>
              </a:defRPr>
            </a:lvl1pPr>
          </a:lstStyle>
          <a:p>
            <a:pPr lvl="0"/>
            <a:r>
              <a:rPr lang="en-US" dirty="0"/>
              <a:t>Your text goes here</a:t>
            </a:r>
          </a:p>
        </p:txBody>
      </p:sp>
      <p:cxnSp>
        <p:nvCxnSpPr>
          <p:cNvPr id="10" name="Straight Connector 9">
            <a:extLst>
              <a:ext uri="{FF2B5EF4-FFF2-40B4-BE49-F238E27FC236}">
                <a16:creationId xmlns:a16="http://schemas.microsoft.com/office/drawing/2014/main" id="{98102F6D-97E6-44C8-A056-15FBEDC61807}"/>
              </a:ext>
            </a:extLst>
          </p:cNvPr>
          <p:cNvCxnSpPr>
            <a:cxnSpLocks/>
          </p:cNvCxnSpPr>
          <p:nvPr userDrawn="1"/>
        </p:nvCxnSpPr>
        <p:spPr>
          <a:xfrm flipV="1">
            <a:off x="560692" y="1332689"/>
            <a:ext cx="0" cy="386054"/>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9" name="Picture 8" descr="A close up of a logo&#10;&#10;Description automatically generated">
            <a:extLst>
              <a:ext uri="{FF2B5EF4-FFF2-40B4-BE49-F238E27FC236}">
                <a16:creationId xmlns:a16="http://schemas.microsoft.com/office/drawing/2014/main" id="{D8E04D60-F235-4BBC-8D51-B557D03B8C7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6" y="286237"/>
            <a:ext cx="816288" cy="182880"/>
          </a:xfrm>
          <a:prstGeom prst="rect">
            <a:avLst/>
          </a:prstGeom>
        </p:spPr>
      </p:pic>
      <p:pic>
        <p:nvPicPr>
          <p:cNvPr id="15" name="Picture 14" descr="A close up of a sign&#10;&#10;Description automatically generated">
            <a:extLst>
              <a:ext uri="{FF2B5EF4-FFF2-40B4-BE49-F238E27FC236}">
                <a16:creationId xmlns:a16="http://schemas.microsoft.com/office/drawing/2014/main" id="{51AC52DA-04DF-4380-9CA9-00B63F4ED64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482381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no imag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DBF341-D0DC-4E23-BA4F-43864283CD87}"/>
              </a:ext>
            </a:extLst>
          </p:cNvPr>
          <p:cNvGraphicFramePr>
            <a:graphicFrameLocks noChangeAspect="1"/>
          </p:cNvGraphicFramePr>
          <p:nvPr userDrawn="1">
            <p:custDataLst>
              <p:tags r:id="rId1"/>
            </p:custDataLst>
            <p:extLst>
              <p:ext uri="{D42A27DB-BD31-4B8C-83A1-F6EECF244321}">
                <p14:modId xmlns:p14="http://schemas.microsoft.com/office/powerpoint/2010/main" val="2241696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a:extLst>
                          <a:ext uri="{FF2B5EF4-FFF2-40B4-BE49-F238E27FC236}">
                            <a16:creationId xmlns:a16="http://schemas.microsoft.com/office/drawing/2014/main" id="{18DBF341-D0DC-4E23-BA4F-43864283CD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3"/>
          <p:cNvSpPr>
            <a:spLocks noGrp="1"/>
          </p:cNvSpPr>
          <p:nvPr>
            <p:ph type="title" hasCustomPrompt="1"/>
          </p:nvPr>
        </p:nvSpPr>
        <p:spPr>
          <a:xfrm>
            <a:off x="3656551" y="2375635"/>
            <a:ext cx="5814020" cy="1345782"/>
          </a:xfrm>
          <a:prstGeom prst="rect">
            <a:avLst/>
          </a:prstGeom>
          <a:solidFill>
            <a:srgbClr val="FFFFFF">
              <a:alpha val="18039"/>
            </a:srgbClr>
          </a:solidFill>
        </p:spPr>
        <p:txBody>
          <a:bodyPr vert="horz" anchor="ctr"/>
          <a:lstStyle>
            <a:lvl1pPr rtl="0">
              <a:defRPr strike="noStrike" cap="all" baseline="0">
                <a:solidFill>
                  <a:schemeClr val="tx1"/>
                </a:solidFill>
                <a:latin typeface="+mn-lt"/>
              </a:defRPr>
            </a:lvl1pPr>
          </a:lstStyle>
          <a:p>
            <a:r>
              <a:rPr lang="en-US" dirty="0"/>
              <a:t>Title</a:t>
            </a:r>
          </a:p>
        </p:txBody>
      </p:sp>
      <p:sp>
        <p:nvSpPr>
          <p:cNvPr id="7" name="Text Placeholder 6">
            <a:extLst>
              <a:ext uri="{FF2B5EF4-FFF2-40B4-BE49-F238E27FC236}">
                <a16:creationId xmlns:a16="http://schemas.microsoft.com/office/drawing/2014/main" id="{A59AAB0E-FF1A-46D0-92FA-24F4C3230641}"/>
              </a:ext>
            </a:extLst>
          </p:cNvPr>
          <p:cNvSpPr>
            <a:spLocks noGrp="1"/>
          </p:cNvSpPr>
          <p:nvPr>
            <p:ph type="body" sz="quarter" idx="11" hasCustomPrompt="1"/>
          </p:nvPr>
        </p:nvSpPr>
        <p:spPr>
          <a:xfrm>
            <a:off x="3655822" y="4420507"/>
            <a:ext cx="4308793" cy="458787"/>
          </a:xfrm>
          <a:prstGeom prst="rect">
            <a:avLst/>
          </a:prstGeom>
        </p:spPr>
        <p:txBody>
          <a:bodyPr/>
          <a:lstStyle>
            <a:lvl1pPr marL="0" indent="0" rtl="0">
              <a:buNone/>
              <a:defRPr sz="2400" b="1">
                <a:solidFill>
                  <a:schemeClr val="tx1"/>
                </a:solidFill>
              </a:defRPr>
            </a:lvl1pPr>
          </a:lstStyle>
          <a:p>
            <a:pPr lvl="0"/>
            <a:r>
              <a:rPr lang="en-US" dirty="0"/>
              <a:t>Subtitle</a:t>
            </a:r>
          </a:p>
        </p:txBody>
      </p:sp>
      <p:cxnSp>
        <p:nvCxnSpPr>
          <p:cNvPr id="9" name="Straight Connector 8">
            <a:extLst>
              <a:ext uri="{FF2B5EF4-FFF2-40B4-BE49-F238E27FC236}">
                <a16:creationId xmlns:a16="http://schemas.microsoft.com/office/drawing/2014/main" id="{92E302C7-A93F-4991-A37F-39463C755350}"/>
              </a:ext>
            </a:extLst>
          </p:cNvPr>
          <p:cNvCxnSpPr/>
          <p:nvPr userDrawn="1"/>
        </p:nvCxnSpPr>
        <p:spPr>
          <a:xfrm>
            <a:off x="3824873" y="3822114"/>
            <a:ext cx="42308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379DE25-8C83-4534-B8E6-4F0F95EC54D0}"/>
              </a:ext>
            </a:extLst>
          </p:cNvPr>
          <p:cNvSpPr/>
          <p:nvPr userDrawn="1"/>
        </p:nvSpPr>
        <p:spPr>
          <a:xfrm>
            <a:off x="12232944" y="0"/>
            <a:ext cx="1828800" cy="1828800"/>
          </a:xfrm>
          <a:prstGeom prst="ellipse">
            <a:avLst/>
          </a:prstGeom>
          <a:solidFill>
            <a:srgbClr val="66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2" name="Oval 11">
            <a:extLst>
              <a:ext uri="{FF2B5EF4-FFF2-40B4-BE49-F238E27FC236}">
                <a16:creationId xmlns:a16="http://schemas.microsoft.com/office/drawing/2014/main" id="{737E4B51-4D9A-4F2C-BA28-148F5D4FFACD}"/>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3" name="Oval 12">
            <a:extLst>
              <a:ext uri="{FF2B5EF4-FFF2-40B4-BE49-F238E27FC236}">
                <a16:creationId xmlns:a16="http://schemas.microsoft.com/office/drawing/2014/main" id="{9BF335E9-83B1-487C-8F60-43EB86A6E499}"/>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4" name="Oval 13">
            <a:extLst>
              <a:ext uri="{FF2B5EF4-FFF2-40B4-BE49-F238E27FC236}">
                <a16:creationId xmlns:a16="http://schemas.microsoft.com/office/drawing/2014/main" id="{D35228B6-DD05-4EFC-BD4C-F018DFC6CEB4}"/>
              </a:ext>
            </a:extLst>
          </p:cNvPr>
          <p:cNvSpPr/>
          <p:nvPr userDrawn="1"/>
        </p:nvSpPr>
        <p:spPr>
          <a:xfrm>
            <a:off x="13222752" y="2951362"/>
            <a:ext cx="905164" cy="905164"/>
          </a:xfrm>
          <a:prstGeom prst="ellipse">
            <a:avLst/>
          </a:prstGeom>
          <a:solidFill>
            <a:srgbClr val="99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15" name="Oval 14">
            <a:extLst>
              <a:ext uri="{FF2B5EF4-FFF2-40B4-BE49-F238E27FC236}">
                <a16:creationId xmlns:a16="http://schemas.microsoft.com/office/drawing/2014/main" id="{9FC2BFE4-D3D9-453D-94E9-18B5CF11D4C2}"/>
              </a:ext>
            </a:extLst>
          </p:cNvPr>
          <p:cNvSpPr/>
          <p:nvPr userDrawn="1"/>
        </p:nvSpPr>
        <p:spPr>
          <a:xfrm>
            <a:off x="1754358" y="541008"/>
            <a:ext cx="3917099" cy="3750621"/>
          </a:xfrm>
          <a:prstGeom prst="ellipse">
            <a:avLst/>
          </a:prstGeom>
          <a:noFill/>
          <a:ln w="317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Arc 1">
            <a:extLst>
              <a:ext uri="{FF2B5EF4-FFF2-40B4-BE49-F238E27FC236}">
                <a16:creationId xmlns:a16="http://schemas.microsoft.com/office/drawing/2014/main" id="{43BB903B-30AC-411C-8452-796CEBCA5CA3}"/>
              </a:ext>
            </a:extLst>
          </p:cNvPr>
          <p:cNvSpPr/>
          <p:nvPr userDrawn="1"/>
        </p:nvSpPr>
        <p:spPr>
          <a:xfrm rot="21367305">
            <a:off x="1597631" y="420366"/>
            <a:ext cx="3757420" cy="3594648"/>
          </a:xfrm>
          <a:prstGeom prst="arc">
            <a:avLst>
              <a:gd name="adj1" fmla="val 11131197"/>
              <a:gd name="adj2" fmla="val 15724196"/>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Arc 15">
            <a:extLst>
              <a:ext uri="{FF2B5EF4-FFF2-40B4-BE49-F238E27FC236}">
                <a16:creationId xmlns:a16="http://schemas.microsoft.com/office/drawing/2014/main" id="{F2E0EC24-664D-4530-AFB1-A2452967DBEF}"/>
              </a:ext>
            </a:extLst>
          </p:cNvPr>
          <p:cNvSpPr/>
          <p:nvPr userDrawn="1"/>
        </p:nvSpPr>
        <p:spPr>
          <a:xfrm rot="21367305">
            <a:off x="6784539" y="1711612"/>
            <a:ext cx="4811756" cy="4603310"/>
          </a:xfrm>
          <a:prstGeom prst="arc">
            <a:avLst>
              <a:gd name="adj1" fmla="val 1667024"/>
              <a:gd name="adj2" fmla="val 3706924"/>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7" name="Text Placeholder 6">
            <a:extLst>
              <a:ext uri="{FF2B5EF4-FFF2-40B4-BE49-F238E27FC236}">
                <a16:creationId xmlns:a16="http://schemas.microsoft.com/office/drawing/2014/main" id="{B16C17C7-B3F4-485C-BE28-BEC7B3D764CF}"/>
              </a:ext>
            </a:extLst>
          </p:cNvPr>
          <p:cNvSpPr>
            <a:spLocks noGrp="1"/>
          </p:cNvSpPr>
          <p:nvPr>
            <p:ph type="body" sz="quarter" idx="12" hasCustomPrompt="1"/>
          </p:nvPr>
        </p:nvSpPr>
        <p:spPr>
          <a:xfrm>
            <a:off x="3655821" y="5074449"/>
            <a:ext cx="4308793" cy="458787"/>
          </a:xfrm>
          <a:prstGeom prst="rect">
            <a:avLst/>
          </a:prstGeom>
        </p:spPr>
        <p:txBody>
          <a:bodyPr/>
          <a:lstStyle>
            <a:lvl1pPr marL="0" indent="0" rtl="0">
              <a:buNone/>
              <a:defRPr sz="1600" b="0">
                <a:solidFill>
                  <a:schemeClr val="bg2"/>
                </a:solidFill>
              </a:defRPr>
            </a:lvl1pPr>
          </a:lstStyle>
          <a:p>
            <a:pPr lvl="0"/>
            <a:r>
              <a:rPr lang="en-US" dirty="0"/>
              <a:t>Date</a:t>
            </a:r>
          </a:p>
        </p:txBody>
      </p:sp>
    </p:spTree>
    <p:extLst>
      <p:ext uri="{BB962C8B-B14F-4D97-AF65-F5344CB8AC3E}">
        <p14:creationId xmlns:p14="http://schemas.microsoft.com/office/powerpoint/2010/main" val="31728986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8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 Statement -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61B353D-5967-4133-BC90-22EB3C971222}"/>
              </a:ext>
            </a:extLst>
          </p:cNvPr>
          <p:cNvGraphicFramePr>
            <a:graphicFrameLocks noChangeAspect="1"/>
          </p:cNvGraphicFramePr>
          <p:nvPr userDrawn="1">
            <p:custDataLst>
              <p:tags r:id="rId1"/>
            </p:custDataLst>
            <p:extLst>
              <p:ext uri="{D42A27DB-BD31-4B8C-83A1-F6EECF244321}">
                <p14:modId xmlns:p14="http://schemas.microsoft.com/office/powerpoint/2010/main" val="279584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F61B353D-5967-4133-BC90-22EB3C9712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bg1"/>
                </a:solidFill>
              </a:defRPr>
            </a:lvl1pPr>
          </a:lstStyle>
          <a:p>
            <a:pPr lvl="0"/>
            <a:r>
              <a:rPr lang="en-US" dirty="0"/>
              <a:t>Your text goes here</a:t>
            </a:r>
          </a:p>
        </p:txBody>
      </p: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17" name="Picture 16" descr="A drawing of a face&#10;&#10;Description automatically generated">
            <a:extLst>
              <a:ext uri="{FF2B5EF4-FFF2-40B4-BE49-F238E27FC236}">
                <a16:creationId xmlns:a16="http://schemas.microsoft.com/office/drawing/2014/main" id="{2198309F-932D-4F1B-A687-FF3E126C0C3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7" y="286237"/>
            <a:ext cx="816287" cy="182880"/>
          </a:xfrm>
          <a:prstGeom prst="rect">
            <a:avLst/>
          </a:prstGeom>
        </p:spPr>
      </p:pic>
      <p:pic>
        <p:nvPicPr>
          <p:cNvPr id="18" name="Picture 17" descr="A close up of a sign&#10;&#10;Description automatically generated">
            <a:extLst>
              <a:ext uri="{FF2B5EF4-FFF2-40B4-BE49-F238E27FC236}">
                <a16:creationId xmlns:a16="http://schemas.microsoft.com/office/drawing/2014/main" id="{D2904767-B539-4AD3-B5F1-F1B3EB56874E}"/>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cxnSp>
        <p:nvCxnSpPr>
          <p:cNvPr id="19" name="Straight Connector 18">
            <a:extLst>
              <a:ext uri="{FF2B5EF4-FFF2-40B4-BE49-F238E27FC236}">
                <a16:creationId xmlns:a16="http://schemas.microsoft.com/office/drawing/2014/main" id="{CCD1A238-EB25-4AFE-9F39-F7DF62EB250D}"/>
              </a:ext>
            </a:extLst>
          </p:cNvPr>
          <p:cNvCxnSpPr>
            <a:cxnSpLocks/>
          </p:cNvCxnSpPr>
          <p:nvPr userDrawn="1"/>
        </p:nvCxnSpPr>
        <p:spPr>
          <a:xfrm flipV="1">
            <a:off x="560692" y="1332689"/>
            <a:ext cx="0" cy="38605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7269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Statement - blu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FB6D06-1590-4AD5-85F5-E7C7DD6EDCB7}"/>
              </a:ext>
            </a:extLst>
          </p:cNvPr>
          <p:cNvGraphicFramePr>
            <a:graphicFrameLocks noChangeAspect="1"/>
          </p:cNvGraphicFramePr>
          <p:nvPr userDrawn="1">
            <p:custDataLst>
              <p:tags r:id="rId1"/>
            </p:custDataLst>
            <p:extLst>
              <p:ext uri="{D42A27DB-BD31-4B8C-83A1-F6EECF244321}">
                <p14:modId xmlns:p14="http://schemas.microsoft.com/office/powerpoint/2010/main" val="2503928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20FB6D06-1590-4AD5-85F5-E7C7DD6EDC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bg1"/>
                </a:solidFill>
              </a:defRPr>
            </a:lvl1pPr>
          </a:lstStyle>
          <a:p>
            <a:pPr lvl="0"/>
            <a:r>
              <a:rPr lang="en-US" dirty="0"/>
              <a:t>Your text goes here</a:t>
            </a:r>
          </a:p>
        </p:txBody>
      </p: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cxnSp>
        <p:nvCxnSpPr>
          <p:cNvPr id="14" name="Straight Connector 13">
            <a:extLst>
              <a:ext uri="{FF2B5EF4-FFF2-40B4-BE49-F238E27FC236}">
                <a16:creationId xmlns:a16="http://schemas.microsoft.com/office/drawing/2014/main" id="{E3E4CF11-D4A1-4F52-937F-CF0B11A1C8B7}"/>
              </a:ext>
            </a:extLst>
          </p:cNvPr>
          <p:cNvCxnSpPr>
            <a:cxnSpLocks/>
          </p:cNvCxnSpPr>
          <p:nvPr userDrawn="1"/>
        </p:nvCxnSpPr>
        <p:spPr>
          <a:xfrm flipV="1">
            <a:off x="560692" y="1332689"/>
            <a:ext cx="0" cy="38605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A drawing of a face&#10;&#10;Description automatically generated">
            <a:extLst>
              <a:ext uri="{FF2B5EF4-FFF2-40B4-BE49-F238E27FC236}">
                <a16:creationId xmlns:a16="http://schemas.microsoft.com/office/drawing/2014/main" id="{E03EAD47-ABD2-4E0F-9880-91FB73C24D6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7" y="286237"/>
            <a:ext cx="816287" cy="182880"/>
          </a:xfrm>
          <a:prstGeom prst="rect">
            <a:avLst/>
          </a:prstGeom>
        </p:spPr>
      </p:pic>
      <p:pic>
        <p:nvPicPr>
          <p:cNvPr id="15" name="Picture 14" descr="A close up of a sign&#10;&#10;Description automatically generated">
            <a:extLst>
              <a:ext uri="{FF2B5EF4-FFF2-40B4-BE49-F238E27FC236}">
                <a16:creationId xmlns:a16="http://schemas.microsoft.com/office/drawing/2014/main" id="{3ABF57F5-6A03-4EA1-B1FA-4A64A497B6D7}"/>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4845926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Statement - gre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79134B-02F1-4885-AF26-E7AE119CDAFA}"/>
              </a:ext>
            </a:extLst>
          </p:cNvPr>
          <p:cNvGraphicFramePr>
            <a:graphicFrameLocks noChangeAspect="1"/>
          </p:cNvGraphicFramePr>
          <p:nvPr userDrawn="1">
            <p:custDataLst>
              <p:tags r:id="rId1"/>
            </p:custDataLst>
            <p:extLst>
              <p:ext uri="{D42A27DB-BD31-4B8C-83A1-F6EECF244321}">
                <p14:modId xmlns:p14="http://schemas.microsoft.com/office/powerpoint/2010/main" val="270573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879134B-02F1-4885-AF26-E7AE119CDA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bg1"/>
                </a:solidFill>
              </a:defRPr>
            </a:lvl1pPr>
          </a:lstStyle>
          <a:p>
            <a:pPr lvl="0"/>
            <a:r>
              <a:rPr lang="en-US" dirty="0"/>
              <a:t>Your text goes here</a:t>
            </a:r>
          </a:p>
        </p:txBody>
      </p: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cxnSp>
        <p:nvCxnSpPr>
          <p:cNvPr id="18" name="Straight Connector 17">
            <a:extLst>
              <a:ext uri="{FF2B5EF4-FFF2-40B4-BE49-F238E27FC236}">
                <a16:creationId xmlns:a16="http://schemas.microsoft.com/office/drawing/2014/main" id="{B3BDF78E-E644-4EF1-9B0E-FF394802FFCB}"/>
              </a:ext>
            </a:extLst>
          </p:cNvPr>
          <p:cNvCxnSpPr>
            <a:cxnSpLocks/>
          </p:cNvCxnSpPr>
          <p:nvPr userDrawn="1"/>
        </p:nvCxnSpPr>
        <p:spPr>
          <a:xfrm flipV="1">
            <a:off x="560692" y="1332689"/>
            <a:ext cx="0" cy="38605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A drawing of a face&#10;&#10;Description automatically generated">
            <a:extLst>
              <a:ext uri="{FF2B5EF4-FFF2-40B4-BE49-F238E27FC236}">
                <a16:creationId xmlns:a16="http://schemas.microsoft.com/office/drawing/2014/main" id="{8DD763EC-CA2E-4BE4-8DEF-2940D734AD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7" y="286237"/>
            <a:ext cx="816287" cy="182880"/>
          </a:xfrm>
          <a:prstGeom prst="rect">
            <a:avLst/>
          </a:prstGeom>
        </p:spPr>
      </p:pic>
      <p:pic>
        <p:nvPicPr>
          <p:cNvPr id="14" name="Picture 13" descr="A close up of a sign&#10;&#10;Description automatically generated">
            <a:extLst>
              <a:ext uri="{FF2B5EF4-FFF2-40B4-BE49-F238E27FC236}">
                <a16:creationId xmlns:a16="http://schemas.microsoft.com/office/drawing/2014/main" id="{CB874428-21FA-4638-8491-62F821940B92}"/>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7520866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Statement -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A72C58-BF2C-4CCB-A014-3405C724AC7E}"/>
              </a:ext>
            </a:extLst>
          </p:cNvPr>
          <p:cNvGraphicFramePr>
            <a:graphicFrameLocks noChangeAspect="1"/>
          </p:cNvGraphicFramePr>
          <p:nvPr userDrawn="1">
            <p:custDataLst>
              <p:tags r:id="rId1"/>
            </p:custDataLst>
            <p:extLst>
              <p:ext uri="{D42A27DB-BD31-4B8C-83A1-F6EECF244321}">
                <p14:modId xmlns:p14="http://schemas.microsoft.com/office/powerpoint/2010/main" val="2937715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6DA72C58-BF2C-4CCB-A014-3405C724AC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2">
            <a:extLst>
              <a:ext uri="{FF2B5EF4-FFF2-40B4-BE49-F238E27FC236}">
                <a16:creationId xmlns:a16="http://schemas.microsoft.com/office/drawing/2014/main" id="{720E1634-21D2-4359-921B-CAAA3661AFD2}"/>
              </a:ext>
            </a:extLst>
          </p:cNvPr>
          <p:cNvSpPr>
            <a:spLocks noGrp="1"/>
          </p:cNvSpPr>
          <p:nvPr>
            <p:ph type="body" sz="quarter" idx="11" hasCustomPrompt="1"/>
          </p:nvPr>
        </p:nvSpPr>
        <p:spPr>
          <a:xfrm>
            <a:off x="836580" y="1332689"/>
            <a:ext cx="8978629" cy="4241260"/>
          </a:xfrm>
          <a:prstGeom prst="rect">
            <a:avLst/>
          </a:prstGeom>
        </p:spPr>
        <p:txBody>
          <a:bodyPr anchor="t"/>
          <a:lstStyle>
            <a:lvl1pPr marL="0" indent="0" rtl="0">
              <a:buNone/>
              <a:defRPr sz="3600" b="1">
                <a:solidFill>
                  <a:schemeClr val="bg1"/>
                </a:solidFill>
              </a:defRPr>
            </a:lvl1pPr>
          </a:lstStyle>
          <a:p>
            <a:pPr lvl="0"/>
            <a:r>
              <a:rPr lang="en-US" dirty="0"/>
              <a:t>Your text goes here</a:t>
            </a:r>
          </a:p>
        </p:txBody>
      </p:sp>
      <p:sp>
        <p:nvSpPr>
          <p:cNvPr id="11" name="Arc 10">
            <a:extLst>
              <a:ext uri="{FF2B5EF4-FFF2-40B4-BE49-F238E27FC236}">
                <a16:creationId xmlns:a16="http://schemas.microsoft.com/office/drawing/2014/main" id="{2B43B82D-CF64-4D75-AAE5-C1FCBE62FCC6}"/>
              </a:ext>
            </a:extLst>
          </p:cNvPr>
          <p:cNvSpPr/>
          <p:nvPr userDrawn="1"/>
        </p:nvSpPr>
        <p:spPr>
          <a:xfrm flipH="1">
            <a:off x="5732531" y="0"/>
            <a:ext cx="5924448" cy="6014609"/>
          </a:xfrm>
          <a:prstGeom prst="arc">
            <a:avLst>
              <a:gd name="adj1" fmla="val 12418904"/>
              <a:gd name="adj2" fmla="val 14215629"/>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CD68ECF-A7B7-400D-89E5-AE5544C15BD2}"/>
              </a:ext>
            </a:extLst>
          </p:cNvPr>
          <p:cNvSpPr/>
          <p:nvPr userDrawn="1"/>
        </p:nvSpPr>
        <p:spPr>
          <a:xfrm flipH="1">
            <a:off x="5612788" y="113805"/>
            <a:ext cx="5924448" cy="6014609"/>
          </a:xfrm>
          <a:prstGeom prst="arc">
            <a:avLst>
              <a:gd name="adj1" fmla="val 10447157"/>
              <a:gd name="adj2" fmla="val 14215629"/>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cxnSp>
        <p:nvCxnSpPr>
          <p:cNvPr id="14" name="Straight Connector 13">
            <a:extLst>
              <a:ext uri="{FF2B5EF4-FFF2-40B4-BE49-F238E27FC236}">
                <a16:creationId xmlns:a16="http://schemas.microsoft.com/office/drawing/2014/main" id="{E4AA7DA6-D123-45B0-9A00-1171D2D715F3}"/>
              </a:ext>
            </a:extLst>
          </p:cNvPr>
          <p:cNvCxnSpPr>
            <a:cxnSpLocks/>
          </p:cNvCxnSpPr>
          <p:nvPr userDrawn="1"/>
        </p:nvCxnSpPr>
        <p:spPr>
          <a:xfrm flipV="1">
            <a:off x="560692" y="1332689"/>
            <a:ext cx="0" cy="386054"/>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A drawing of a face&#10;&#10;Description automatically generated">
            <a:extLst>
              <a:ext uri="{FF2B5EF4-FFF2-40B4-BE49-F238E27FC236}">
                <a16:creationId xmlns:a16="http://schemas.microsoft.com/office/drawing/2014/main" id="{4125FACC-3A9D-46E5-8A98-119F6D1796A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01417" y="286237"/>
            <a:ext cx="816287" cy="182880"/>
          </a:xfrm>
          <a:prstGeom prst="rect">
            <a:avLst/>
          </a:prstGeom>
        </p:spPr>
      </p:pic>
      <p:pic>
        <p:nvPicPr>
          <p:cNvPr id="15" name="Picture 14" descr="A close up of a sign&#10;&#10;Description automatically generated">
            <a:extLst>
              <a:ext uri="{FF2B5EF4-FFF2-40B4-BE49-F238E27FC236}">
                <a16:creationId xmlns:a16="http://schemas.microsoft.com/office/drawing/2014/main" id="{8B145E51-D6B8-4DE1-8F04-887D5ACE03DF}"/>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3603290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Q&amp;A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24DA75-52E3-4851-9FDC-FC07015AE6B0}"/>
              </a:ext>
            </a:extLst>
          </p:cNvPr>
          <p:cNvGraphicFramePr>
            <a:graphicFrameLocks noChangeAspect="1"/>
          </p:cNvGraphicFramePr>
          <p:nvPr userDrawn="1">
            <p:custDataLst>
              <p:tags r:id="rId1"/>
            </p:custDataLst>
            <p:extLst>
              <p:ext uri="{D42A27DB-BD31-4B8C-83A1-F6EECF244321}">
                <p14:modId xmlns:p14="http://schemas.microsoft.com/office/powerpoint/2010/main" val="937568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a:extLst>
                          <a:ext uri="{FF2B5EF4-FFF2-40B4-BE49-F238E27FC236}">
                            <a16:creationId xmlns:a16="http://schemas.microsoft.com/office/drawing/2014/main" id="{F624DA75-52E3-4851-9FDC-FC07015AE6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25C1A1F0-8F17-4F9B-9BE2-F8CF15144FF2}"/>
              </a:ext>
            </a:extLst>
          </p:cNvPr>
          <p:cNvSpPr txBox="1"/>
          <p:nvPr userDrawn="1"/>
        </p:nvSpPr>
        <p:spPr>
          <a:xfrm>
            <a:off x="6690908" y="-2260018"/>
            <a:ext cx="1036949" cy="10864513"/>
          </a:xfrm>
          <a:prstGeom prst="rect">
            <a:avLst/>
          </a:prstGeom>
          <a:noFill/>
        </p:spPr>
        <p:txBody>
          <a:bodyPr wrap="square" rtlCol="0">
            <a:spAutoFit/>
          </a:bodyPr>
          <a:lstStyle/>
          <a:p>
            <a:pPr rtl="0"/>
            <a:r>
              <a:rPr lang="en-US" sz="70000" dirty="0">
                <a:solidFill>
                  <a:schemeClr val="tx2"/>
                </a:solidFill>
              </a:rPr>
              <a:t>?</a:t>
            </a:r>
          </a:p>
        </p:txBody>
      </p:sp>
      <p:sp>
        <p:nvSpPr>
          <p:cNvPr id="3" name="Rectangle 2">
            <a:extLst>
              <a:ext uri="{FF2B5EF4-FFF2-40B4-BE49-F238E27FC236}">
                <a16:creationId xmlns:a16="http://schemas.microsoft.com/office/drawing/2014/main" id="{9234098D-0058-45D3-94A5-3033D6325B9D}"/>
              </a:ext>
            </a:extLst>
          </p:cNvPr>
          <p:cNvSpPr/>
          <p:nvPr userDrawn="1"/>
        </p:nvSpPr>
        <p:spPr>
          <a:xfrm>
            <a:off x="4185501" y="0"/>
            <a:ext cx="7605083" cy="6858000"/>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Arc 14">
            <a:extLst>
              <a:ext uri="{FF2B5EF4-FFF2-40B4-BE49-F238E27FC236}">
                <a16:creationId xmlns:a16="http://schemas.microsoft.com/office/drawing/2014/main" id="{D19EE821-D06F-4EC1-9AB9-DA00ED71EF1A}"/>
              </a:ext>
            </a:extLst>
          </p:cNvPr>
          <p:cNvSpPr/>
          <p:nvPr userDrawn="1"/>
        </p:nvSpPr>
        <p:spPr>
          <a:xfrm flipH="1">
            <a:off x="3018470" y="421695"/>
            <a:ext cx="5924448" cy="6014609"/>
          </a:xfrm>
          <a:prstGeom prst="arc">
            <a:avLst>
              <a:gd name="adj1" fmla="val 5972977"/>
              <a:gd name="adj2" fmla="val 5972053"/>
            </a:avLst>
          </a:prstGeom>
          <a:gradFill>
            <a:gsLst>
              <a:gs pos="0">
                <a:schemeClr val="bg1"/>
              </a:gs>
              <a:gs pos="100000">
                <a:schemeClr val="bg1">
                  <a:alpha val="22000"/>
                </a:schemeClr>
              </a:gs>
            </a:gsLst>
            <a:lin ang="0" scaled="0"/>
          </a:gradFill>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9" name="Text Placeholder 12">
            <a:extLst>
              <a:ext uri="{FF2B5EF4-FFF2-40B4-BE49-F238E27FC236}">
                <a16:creationId xmlns:a16="http://schemas.microsoft.com/office/drawing/2014/main" id="{07B17288-790A-428E-8DC4-3A7101949763}"/>
              </a:ext>
            </a:extLst>
          </p:cNvPr>
          <p:cNvSpPr>
            <a:spLocks noGrp="1"/>
          </p:cNvSpPr>
          <p:nvPr>
            <p:ph type="body" sz="quarter" idx="11" hasCustomPrompt="1"/>
          </p:nvPr>
        </p:nvSpPr>
        <p:spPr>
          <a:xfrm>
            <a:off x="4529038" y="2431034"/>
            <a:ext cx="2444591" cy="1253493"/>
          </a:xfrm>
          <a:prstGeom prst="rect">
            <a:avLst/>
          </a:prstGeom>
        </p:spPr>
        <p:txBody>
          <a:bodyPr anchor="t"/>
          <a:lstStyle>
            <a:lvl1pPr marL="0" indent="0" algn="ctr" rtl="0">
              <a:buNone/>
              <a:defRPr sz="8800" b="1">
                <a:solidFill>
                  <a:schemeClr val="tx2"/>
                </a:solidFill>
              </a:defRPr>
            </a:lvl1pPr>
          </a:lstStyle>
          <a:p>
            <a:pPr lvl="0"/>
            <a:r>
              <a:rPr lang="en-US" dirty="0"/>
              <a:t>Q&amp;A</a:t>
            </a:r>
          </a:p>
        </p:txBody>
      </p:sp>
      <p:sp>
        <p:nvSpPr>
          <p:cNvPr id="13" name="Arc 12">
            <a:extLst>
              <a:ext uri="{FF2B5EF4-FFF2-40B4-BE49-F238E27FC236}">
                <a16:creationId xmlns:a16="http://schemas.microsoft.com/office/drawing/2014/main" id="{9C5DA2EA-4167-4AAC-AFB3-FFA87FABF1B4}"/>
              </a:ext>
            </a:extLst>
          </p:cNvPr>
          <p:cNvSpPr/>
          <p:nvPr userDrawn="1"/>
        </p:nvSpPr>
        <p:spPr>
          <a:xfrm flipH="1">
            <a:off x="3020167" y="249776"/>
            <a:ext cx="5924448" cy="6014609"/>
          </a:xfrm>
          <a:prstGeom prst="arc">
            <a:avLst>
              <a:gd name="adj1" fmla="val 18861794"/>
              <a:gd name="adj2" fmla="val 5972053"/>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11" name="Picture 10">
            <a:extLst>
              <a:ext uri="{FF2B5EF4-FFF2-40B4-BE49-F238E27FC236}">
                <a16:creationId xmlns:a16="http://schemas.microsoft.com/office/drawing/2014/main" id="{F95876F8-7BE3-438F-8718-D3CC49E95D6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5350" y="5839786"/>
            <a:ext cx="1255070" cy="887042"/>
          </a:xfrm>
          <a:prstGeom prst="rect">
            <a:avLst/>
          </a:prstGeom>
        </p:spPr>
      </p:pic>
    </p:spTree>
    <p:extLst>
      <p:ext uri="{BB962C8B-B14F-4D97-AF65-F5344CB8AC3E}">
        <p14:creationId xmlns:p14="http://schemas.microsoft.com/office/powerpoint/2010/main" val="7750376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amp;A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7D94B-ACDB-4849-BA65-D6AC87B29D22}"/>
              </a:ext>
            </a:extLst>
          </p:cNvPr>
          <p:cNvGraphicFramePr>
            <a:graphicFrameLocks noChangeAspect="1"/>
          </p:cNvGraphicFramePr>
          <p:nvPr userDrawn="1">
            <p:custDataLst>
              <p:tags r:id="rId1"/>
            </p:custDataLst>
            <p:extLst>
              <p:ext uri="{D42A27DB-BD31-4B8C-83A1-F6EECF244321}">
                <p14:modId xmlns:p14="http://schemas.microsoft.com/office/powerpoint/2010/main" val="387048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3327D94B-ACDB-4849-BA65-D6AC87B29D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8115297-0074-41D1-8293-A7C7BFA8DF5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5213" y="5839860"/>
            <a:ext cx="1254965" cy="886968"/>
          </a:xfrm>
          <a:prstGeom prst="rect">
            <a:avLst/>
          </a:prstGeom>
        </p:spPr>
      </p:pic>
      <p:sp>
        <p:nvSpPr>
          <p:cNvPr id="20" name="TextBox 19">
            <a:extLst>
              <a:ext uri="{FF2B5EF4-FFF2-40B4-BE49-F238E27FC236}">
                <a16:creationId xmlns:a16="http://schemas.microsoft.com/office/drawing/2014/main" id="{15AA39AD-F5C1-44B4-AA41-1E2F1220E831}"/>
              </a:ext>
            </a:extLst>
          </p:cNvPr>
          <p:cNvSpPr txBox="1"/>
          <p:nvPr userDrawn="1"/>
        </p:nvSpPr>
        <p:spPr>
          <a:xfrm>
            <a:off x="6690908" y="-2260018"/>
            <a:ext cx="1036949" cy="10864513"/>
          </a:xfrm>
          <a:prstGeom prst="rect">
            <a:avLst/>
          </a:prstGeom>
          <a:noFill/>
        </p:spPr>
        <p:txBody>
          <a:bodyPr wrap="square" rtlCol="0">
            <a:spAutoFit/>
          </a:bodyPr>
          <a:lstStyle/>
          <a:p>
            <a:pPr rtl="0"/>
            <a:r>
              <a:rPr lang="en-US" sz="70000" dirty="0">
                <a:solidFill>
                  <a:schemeClr val="tx1">
                    <a:lumMod val="50000"/>
                    <a:lumOff val="50000"/>
                  </a:schemeClr>
                </a:solidFill>
              </a:rPr>
              <a:t>?</a:t>
            </a:r>
          </a:p>
        </p:txBody>
      </p:sp>
      <p:sp>
        <p:nvSpPr>
          <p:cNvPr id="19" name="Rectangle 18">
            <a:extLst>
              <a:ext uri="{FF2B5EF4-FFF2-40B4-BE49-F238E27FC236}">
                <a16:creationId xmlns:a16="http://schemas.microsoft.com/office/drawing/2014/main" id="{866A534B-4624-4B67-AD91-828428CE46FF}"/>
              </a:ext>
            </a:extLst>
          </p:cNvPr>
          <p:cNvSpPr/>
          <p:nvPr userDrawn="1"/>
        </p:nvSpPr>
        <p:spPr>
          <a:xfrm>
            <a:off x="4529038" y="-1"/>
            <a:ext cx="7605083" cy="6858000"/>
          </a:xfrm>
          <a:prstGeom prst="rect">
            <a:avLst/>
          </a:prstGeom>
          <a:solidFill>
            <a:schemeClr val="tx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3" name="Arc 12">
            <a:extLst>
              <a:ext uri="{FF2B5EF4-FFF2-40B4-BE49-F238E27FC236}">
                <a16:creationId xmlns:a16="http://schemas.microsoft.com/office/drawing/2014/main" id="{D4E44FFE-4B7D-4F22-AE1F-2BC79C00ADC0}"/>
              </a:ext>
            </a:extLst>
          </p:cNvPr>
          <p:cNvSpPr/>
          <p:nvPr userDrawn="1"/>
        </p:nvSpPr>
        <p:spPr>
          <a:xfrm flipH="1">
            <a:off x="3018470" y="421695"/>
            <a:ext cx="5924448" cy="6014609"/>
          </a:xfrm>
          <a:prstGeom prst="arc">
            <a:avLst>
              <a:gd name="adj1" fmla="val 5972977"/>
              <a:gd name="adj2" fmla="val 5972053"/>
            </a:avLst>
          </a:prstGeom>
          <a:solidFill>
            <a:schemeClr val="tx1"/>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solidFill>
                <a:schemeClr val="tx2"/>
              </a:solidFill>
            </a:endParaRPr>
          </a:p>
        </p:txBody>
      </p:sp>
      <p:sp>
        <p:nvSpPr>
          <p:cNvPr id="9" name="Text Placeholder 12">
            <a:extLst>
              <a:ext uri="{FF2B5EF4-FFF2-40B4-BE49-F238E27FC236}">
                <a16:creationId xmlns:a16="http://schemas.microsoft.com/office/drawing/2014/main" id="{BEA73A5F-1964-4084-AA70-4291ECD17A97}"/>
              </a:ext>
            </a:extLst>
          </p:cNvPr>
          <p:cNvSpPr>
            <a:spLocks noGrp="1"/>
          </p:cNvSpPr>
          <p:nvPr>
            <p:ph type="body" sz="quarter" idx="11" hasCustomPrompt="1"/>
          </p:nvPr>
        </p:nvSpPr>
        <p:spPr>
          <a:xfrm>
            <a:off x="4529038" y="2431034"/>
            <a:ext cx="2444591" cy="1253493"/>
          </a:xfrm>
          <a:prstGeom prst="rect">
            <a:avLst/>
          </a:prstGeom>
        </p:spPr>
        <p:txBody>
          <a:bodyPr anchor="t"/>
          <a:lstStyle>
            <a:lvl1pPr marL="0" indent="0" algn="ctr" rtl="0">
              <a:buNone/>
              <a:defRPr sz="8800" b="1">
                <a:solidFill>
                  <a:schemeClr val="tx2"/>
                </a:solidFill>
              </a:defRPr>
            </a:lvl1pPr>
          </a:lstStyle>
          <a:p>
            <a:pPr lvl="0"/>
            <a:r>
              <a:rPr lang="en-US" dirty="0"/>
              <a:t>Q&amp;A</a:t>
            </a:r>
          </a:p>
        </p:txBody>
      </p:sp>
      <p:sp>
        <p:nvSpPr>
          <p:cNvPr id="10" name="Arc 9">
            <a:extLst>
              <a:ext uri="{FF2B5EF4-FFF2-40B4-BE49-F238E27FC236}">
                <a16:creationId xmlns:a16="http://schemas.microsoft.com/office/drawing/2014/main" id="{6D39296C-9963-473E-AB7A-11500855FD1A}"/>
              </a:ext>
            </a:extLst>
          </p:cNvPr>
          <p:cNvSpPr/>
          <p:nvPr userDrawn="1"/>
        </p:nvSpPr>
        <p:spPr>
          <a:xfrm flipH="1">
            <a:off x="3663585" y="62862"/>
            <a:ext cx="5924448" cy="6014609"/>
          </a:xfrm>
          <a:prstGeom prst="arc">
            <a:avLst>
              <a:gd name="adj1" fmla="val 12418904"/>
              <a:gd name="adj2" fmla="val 14215629"/>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AD09F105-A931-49D4-A08F-8D11F5852EC1}"/>
              </a:ext>
            </a:extLst>
          </p:cNvPr>
          <p:cNvSpPr/>
          <p:nvPr userDrawn="1"/>
        </p:nvSpPr>
        <p:spPr>
          <a:xfrm flipH="1">
            <a:off x="3543842" y="176667"/>
            <a:ext cx="5924448" cy="6014609"/>
          </a:xfrm>
          <a:prstGeom prst="arc">
            <a:avLst>
              <a:gd name="adj1" fmla="val 10447157"/>
              <a:gd name="adj2" fmla="val 14215629"/>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4692D47F-871A-4E7C-86A5-FC9F89D7E01C}"/>
              </a:ext>
            </a:extLst>
          </p:cNvPr>
          <p:cNvSpPr/>
          <p:nvPr userDrawn="1"/>
        </p:nvSpPr>
        <p:spPr>
          <a:xfrm flipH="1">
            <a:off x="3020167" y="249776"/>
            <a:ext cx="5924448" cy="6014609"/>
          </a:xfrm>
          <a:prstGeom prst="arc">
            <a:avLst>
              <a:gd name="adj1" fmla="val 18861794"/>
              <a:gd name="adj2" fmla="val 5972053"/>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Tree>
    <p:extLst>
      <p:ext uri="{BB962C8B-B14F-4D97-AF65-F5344CB8AC3E}">
        <p14:creationId xmlns:p14="http://schemas.microsoft.com/office/powerpoint/2010/main" val="2654448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66A99C-983F-46D8-A2D2-39268EB171CF}"/>
              </a:ext>
            </a:extLst>
          </p:cNvPr>
          <p:cNvGraphicFramePr>
            <a:graphicFrameLocks noChangeAspect="1"/>
          </p:cNvGraphicFramePr>
          <p:nvPr userDrawn="1">
            <p:custDataLst>
              <p:tags r:id="rId1"/>
            </p:custDataLst>
            <p:extLst>
              <p:ext uri="{D42A27DB-BD31-4B8C-83A1-F6EECF244321}">
                <p14:modId xmlns:p14="http://schemas.microsoft.com/office/powerpoint/2010/main" val="600956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9966A99C-983F-46D8-A2D2-39268EB17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Arc 15">
            <a:extLst>
              <a:ext uri="{FF2B5EF4-FFF2-40B4-BE49-F238E27FC236}">
                <a16:creationId xmlns:a16="http://schemas.microsoft.com/office/drawing/2014/main" id="{21396703-3F6B-4A61-BD93-8AE36E2E733E}"/>
              </a:ext>
            </a:extLst>
          </p:cNvPr>
          <p:cNvSpPr/>
          <p:nvPr userDrawn="1"/>
        </p:nvSpPr>
        <p:spPr>
          <a:xfrm flipH="1">
            <a:off x="1813360" y="0"/>
            <a:ext cx="7309280" cy="7420516"/>
          </a:xfrm>
          <a:prstGeom prst="arc">
            <a:avLst>
              <a:gd name="adj1" fmla="val 5972977"/>
              <a:gd name="adj2" fmla="val 5972053"/>
            </a:avLst>
          </a:prstGeom>
          <a:solidFill>
            <a:schemeClr val="bg1">
              <a:lumMod val="95000"/>
            </a:schemeClr>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D80C2E6D-26A5-4F5B-AA20-54D8ADFF6DAA}"/>
              </a:ext>
            </a:extLst>
          </p:cNvPr>
          <p:cNvSpPr/>
          <p:nvPr userDrawn="1"/>
        </p:nvSpPr>
        <p:spPr>
          <a:xfrm flipH="1">
            <a:off x="1415437" y="-478942"/>
            <a:ext cx="7781042" cy="7899458"/>
          </a:xfrm>
          <a:prstGeom prst="arc">
            <a:avLst>
              <a:gd name="adj1" fmla="val 5972977"/>
              <a:gd name="adj2" fmla="val 5972053"/>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4" name="Arc 13">
            <a:extLst>
              <a:ext uri="{FF2B5EF4-FFF2-40B4-BE49-F238E27FC236}">
                <a16:creationId xmlns:a16="http://schemas.microsoft.com/office/drawing/2014/main" id="{1FE4D990-17C1-48B7-8881-6BFD1CA16214}"/>
              </a:ext>
            </a:extLst>
          </p:cNvPr>
          <p:cNvSpPr/>
          <p:nvPr userDrawn="1"/>
        </p:nvSpPr>
        <p:spPr>
          <a:xfrm flipH="1">
            <a:off x="1813360" y="-432667"/>
            <a:ext cx="7781044" cy="7998312"/>
          </a:xfrm>
          <a:prstGeom prst="arc">
            <a:avLst>
              <a:gd name="adj1" fmla="val 656874"/>
              <a:gd name="adj2" fmla="val 4094703"/>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9" name="Text Placeholder 12">
            <a:extLst>
              <a:ext uri="{FF2B5EF4-FFF2-40B4-BE49-F238E27FC236}">
                <a16:creationId xmlns:a16="http://schemas.microsoft.com/office/drawing/2014/main" id="{C886E2DE-9B15-4E3C-91C3-213D2464C29D}"/>
              </a:ext>
            </a:extLst>
          </p:cNvPr>
          <p:cNvSpPr>
            <a:spLocks noGrp="1"/>
          </p:cNvSpPr>
          <p:nvPr>
            <p:ph type="body" sz="quarter" idx="11" hasCustomPrompt="1"/>
          </p:nvPr>
        </p:nvSpPr>
        <p:spPr>
          <a:xfrm>
            <a:off x="5226636" y="3502750"/>
            <a:ext cx="6315943" cy="1253493"/>
          </a:xfrm>
          <a:prstGeom prst="rect">
            <a:avLst/>
          </a:prstGeom>
        </p:spPr>
        <p:txBody>
          <a:bodyPr anchor="t"/>
          <a:lstStyle>
            <a:lvl1pPr marL="0" indent="0" algn="l" rtl="0">
              <a:buNone/>
              <a:defRPr sz="8800" b="1">
                <a:solidFill>
                  <a:schemeClr val="tx1"/>
                </a:solidFill>
              </a:defRPr>
            </a:lvl1pPr>
          </a:lstStyle>
          <a:p>
            <a:pPr lvl="0"/>
            <a:r>
              <a:rPr lang="en-US" dirty="0"/>
              <a:t>THANK YOU</a:t>
            </a:r>
          </a:p>
        </p:txBody>
      </p:sp>
      <p:pic>
        <p:nvPicPr>
          <p:cNvPr id="11" name="Picture 10">
            <a:extLst>
              <a:ext uri="{FF2B5EF4-FFF2-40B4-BE49-F238E27FC236}">
                <a16:creationId xmlns:a16="http://schemas.microsoft.com/office/drawing/2014/main" id="{B2224B25-B343-4834-BBEC-1B715120B52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5350" y="5839786"/>
            <a:ext cx="1255070" cy="887042"/>
          </a:xfrm>
          <a:prstGeom prst="rect">
            <a:avLst/>
          </a:prstGeom>
        </p:spPr>
      </p:pic>
    </p:spTree>
    <p:extLst>
      <p:ext uri="{BB962C8B-B14F-4D97-AF65-F5344CB8AC3E}">
        <p14:creationId xmlns:p14="http://schemas.microsoft.com/office/powerpoint/2010/main" val="32844445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titl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5B1AE3-CB15-499E-8A8D-117FE9332719}"/>
              </a:ext>
            </a:extLst>
          </p:cNvPr>
          <p:cNvGraphicFramePr>
            <a:graphicFrameLocks noChangeAspect="1"/>
          </p:cNvGraphicFramePr>
          <p:nvPr userDrawn="1">
            <p:custDataLst>
              <p:tags r:id="rId1"/>
            </p:custDataLst>
            <p:extLst>
              <p:ext uri="{D42A27DB-BD31-4B8C-83A1-F6EECF244321}">
                <p14:modId xmlns:p14="http://schemas.microsoft.com/office/powerpoint/2010/main" val="1375195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335B1AE3-CB15-499E-8A8D-117FE93327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Oval 13">
            <a:extLst>
              <a:ext uri="{FF2B5EF4-FFF2-40B4-BE49-F238E27FC236}">
                <a16:creationId xmlns:a16="http://schemas.microsoft.com/office/drawing/2014/main" id="{8A95614E-EAAB-4F15-BC2D-ED271854621D}"/>
              </a:ext>
            </a:extLst>
          </p:cNvPr>
          <p:cNvSpPr/>
          <p:nvPr userDrawn="1"/>
        </p:nvSpPr>
        <p:spPr>
          <a:xfrm>
            <a:off x="-2498777" y="-258451"/>
            <a:ext cx="7374900" cy="737490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Arc 14">
            <a:extLst>
              <a:ext uri="{FF2B5EF4-FFF2-40B4-BE49-F238E27FC236}">
                <a16:creationId xmlns:a16="http://schemas.microsoft.com/office/drawing/2014/main" id="{7F601D30-BF8E-4C08-8FCF-3E4E8876C396}"/>
              </a:ext>
            </a:extLst>
          </p:cNvPr>
          <p:cNvSpPr/>
          <p:nvPr userDrawn="1"/>
        </p:nvSpPr>
        <p:spPr>
          <a:xfrm>
            <a:off x="163288" y="2145165"/>
            <a:ext cx="4712835" cy="4712835"/>
          </a:xfrm>
          <a:prstGeom prst="arc">
            <a:avLst>
              <a:gd name="adj1" fmla="val 1321818"/>
              <a:gd name="adj2" fmla="val 4040674"/>
            </a:avLst>
          </a:prstGeom>
          <a:ln w="762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6" name="Text Placeholder 7">
            <a:extLst>
              <a:ext uri="{FF2B5EF4-FFF2-40B4-BE49-F238E27FC236}">
                <a16:creationId xmlns:a16="http://schemas.microsoft.com/office/drawing/2014/main" id="{CFB48737-0002-450A-99F6-71BFD74F8020}"/>
              </a:ext>
            </a:extLst>
          </p:cNvPr>
          <p:cNvSpPr>
            <a:spLocks noGrp="1"/>
          </p:cNvSpPr>
          <p:nvPr>
            <p:ph type="body" sz="quarter" idx="10" hasCustomPrompt="1"/>
          </p:nvPr>
        </p:nvSpPr>
        <p:spPr>
          <a:xfrm>
            <a:off x="473869" y="2417761"/>
            <a:ext cx="4712834" cy="1011238"/>
          </a:xfrm>
          <a:prstGeom prst="rect">
            <a:avLst/>
          </a:prstGeom>
        </p:spPr>
        <p:txBody>
          <a:bodyPr anchor="ctr"/>
          <a:lstStyle>
            <a:lvl1pPr marL="0" indent="0" algn="ctr" rtl="0">
              <a:buNone/>
              <a:defRPr sz="4400" cap="all" baseline="0"/>
            </a:lvl1pPr>
          </a:lstStyle>
          <a:p>
            <a:pPr lvl="0"/>
            <a:r>
              <a:rPr lang="en-US" dirty="0"/>
              <a:t>AGENDA</a:t>
            </a:r>
          </a:p>
        </p:txBody>
      </p:sp>
      <p:sp>
        <p:nvSpPr>
          <p:cNvPr id="17" name="Arc 16">
            <a:extLst>
              <a:ext uri="{FF2B5EF4-FFF2-40B4-BE49-F238E27FC236}">
                <a16:creationId xmlns:a16="http://schemas.microsoft.com/office/drawing/2014/main" id="{F067F7D8-DEC1-4087-A469-AA038E271603}"/>
              </a:ext>
            </a:extLst>
          </p:cNvPr>
          <p:cNvSpPr/>
          <p:nvPr userDrawn="1"/>
        </p:nvSpPr>
        <p:spPr>
          <a:xfrm>
            <a:off x="226583" y="1039014"/>
            <a:ext cx="4302779" cy="4302778"/>
          </a:xfrm>
          <a:prstGeom prst="arc">
            <a:avLst>
              <a:gd name="adj1" fmla="val 9578326"/>
              <a:gd name="adj2" fmla="val 16407294"/>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8" name="Text Placeholder 56">
            <a:extLst>
              <a:ext uri="{FF2B5EF4-FFF2-40B4-BE49-F238E27FC236}">
                <a16:creationId xmlns:a16="http://schemas.microsoft.com/office/drawing/2014/main" id="{4A6C5FF6-F6B2-4148-99FE-42CB737AC288}"/>
              </a:ext>
            </a:extLst>
          </p:cNvPr>
          <p:cNvSpPr>
            <a:spLocks noGrp="1"/>
          </p:cNvSpPr>
          <p:nvPr>
            <p:ph type="body" sz="quarter" idx="11" hasCustomPrompt="1"/>
          </p:nvPr>
        </p:nvSpPr>
        <p:spPr>
          <a:xfrm>
            <a:off x="6577088" y="811004"/>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19" name="Text Placeholder 56">
            <a:extLst>
              <a:ext uri="{FF2B5EF4-FFF2-40B4-BE49-F238E27FC236}">
                <a16:creationId xmlns:a16="http://schemas.microsoft.com/office/drawing/2014/main" id="{FDEAA69A-8B6D-4045-A1F4-F15C2E536A0F}"/>
              </a:ext>
            </a:extLst>
          </p:cNvPr>
          <p:cNvSpPr>
            <a:spLocks noGrp="1"/>
          </p:cNvSpPr>
          <p:nvPr>
            <p:ph type="body" sz="quarter" idx="12" hasCustomPrompt="1"/>
          </p:nvPr>
        </p:nvSpPr>
        <p:spPr>
          <a:xfrm>
            <a:off x="6577088" y="2335900"/>
            <a:ext cx="452436"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20" name="Text Placeholder 56">
            <a:extLst>
              <a:ext uri="{FF2B5EF4-FFF2-40B4-BE49-F238E27FC236}">
                <a16:creationId xmlns:a16="http://schemas.microsoft.com/office/drawing/2014/main" id="{43C26D4E-CB16-4595-BD4F-1D4CC35D20CB}"/>
              </a:ext>
            </a:extLst>
          </p:cNvPr>
          <p:cNvSpPr>
            <a:spLocks noGrp="1"/>
          </p:cNvSpPr>
          <p:nvPr>
            <p:ph type="body" sz="quarter" idx="13" hasCustomPrompt="1"/>
          </p:nvPr>
        </p:nvSpPr>
        <p:spPr>
          <a:xfrm>
            <a:off x="6577087" y="3765877"/>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21" name="Text Placeholder 56">
            <a:extLst>
              <a:ext uri="{FF2B5EF4-FFF2-40B4-BE49-F238E27FC236}">
                <a16:creationId xmlns:a16="http://schemas.microsoft.com/office/drawing/2014/main" id="{A2E1AB18-0C8A-4DCF-9D68-A09CA696B27B}"/>
              </a:ext>
            </a:extLst>
          </p:cNvPr>
          <p:cNvSpPr>
            <a:spLocks noGrp="1"/>
          </p:cNvSpPr>
          <p:nvPr>
            <p:ph type="body" sz="quarter" idx="14" hasCustomPrompt="1"/>
          </p:nvPr>
        </p:nvSpPr>
        <p:spPr>
          <a:xfrm>
            <a:off x="6577086" y="5195854"/>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22" name="Text Placeholder 61">
            <a:extLst>
              <a:ext uri="{FF2B5EF4-FFF2-40B4-BE49-F238E27FC236}">
                <a16:creationId xmlns:a16="http://schemas.microsoft.com/office/drawing/2014/main" id="{61D6A130-B935-4C2D-ADA9-6F2300796085}"/>
              </a:ext>
            </a:extLst>
          </p:cNvPr>
          <p:cNvSpPr>
            <a:spLocks noGrp="1"/>
          </p:cNvSpPr>
          <p:nvPr>
            <p:ph type="body" sz="quarter" idx="15" hasCustomPrompt="1"/>
          </p:nvPr>
        </p:nvSpPr>
        <p:spPr>
          <a:xfrm>
            <a:off x="6577088" y="1503423"/>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1</a:t>
            </a:r>
          </a:p>
        </p:txBody>
      </p:sp>
      <p:sp>
        <p:nvSpPr>
          <p:cNvPr id="23" name="Text Placeholder 61">
            <a:extLst>
              <a:ext uri="{FF2B5EF4-FFF2-40B4-BE49-F238E27FC236}">
                <a16:creationId xmlns:a16="http://schemas.microsoft.com/office/drawing/2014/main" id="{69BB2DE3-5D7B-471A-9ECE-3E789F6A199F}"/>
              </a:ext>
            </a:extLst>
          </p:cNvPr>
          <p:cNvSpPr>
            <a:spLocks noGrp="1"/>
          </p:cNvSpPr>
          <p:nvPr>
            <p:ph type="body" sz="quarter" idx="16" hasCustomPrompt="1"/>
          </p:nvPr>
        </p:nvSpPr>
        <p:spPr>
          <a:xfrm>
            <a:off x="6577088" y="3028319"/>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2</a:t>
            </a:r>
          </a:p>
        </p:txBody>
      </p:sp>
      <p:sp>
        <p:nvSpPr>
          <p:cNvPr id="24" name="Text Placeholder 61">
            <a:extLst>
              <a:ext uri="{FF2B5EF4-FFF2-40B4-BE49-F238E27FC236}">
                <a16:creationId xmlns:a16="http://schemas.microsoft.com/office/drawing/2014/main" id="{24F854ED-AF49-4253-B19A-1537ACA15C40}"/>
              </a:ext>
            </a:extLst>
          </p:cNvPr>
          <p:cNvSpPr>
            <a:spLocks noGrp="1"/>
          </p:cNvSpPr>
          <p:nvPr>
            <p:ph type="body" sz="quarter" idx="17" hasCustomPrompt="1"/>
          </p:nvPr>
        </p:nvSpPr>
        <p:spPr>
          <a:xfrm>
            <a:off x="6577087" y="4457555"/>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3</a:t>
            </a:r>
          </a:p>
        </p:txBody>
      </p:sp>
      <p:sp>
        <p:nvSpPr>
          <p:cNvPr id="25" name="Text Placeholder 61">
            <a:extLst>
              <a:ext uri="{FF2B5EF4-FFF2-40B4-BE49-F238E27FC236}">
                <a16:creationId xmlns:a16="http://schemas.microsoft.com/office/drawing/2014/main" id="{15229D61-1B2E-4086-B500-4B14D42274E5}"/>
              </a:ext>
            </a:extLst>
          </p:cNvPr>
          <p:cNvSpPr>
            <a:spLocks noGrp="1"/>
          </p:cNvSpPr>
          <p:nvPr>
            <p:ph type="body" sz="quarter" idx="18" hasCustomPrompt="1"/>
          </p:nvPr>
        </p:nvSpPr>
        <p:spPr>
          <a:xfrm>
            <a:off x="6577087" y="5886791"/>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4</a:t>
            </a:r>
          </a:p>
        </p:txBody>
      </p:sp>
    </p:spTree>
    <p:extLst>
      <p:ext uri="{BB962C8B-B14F-4D97-AF65-F5344CB8AC3E}">
        <p14:creationId xmlns:p14="http://schemas.microsoft.com/office/powerpoint/2010/main" val="3598632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Agenda - titl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640497-49A7-4F57-A72A-D81E553A966E}"/>
              </a:ext>
            </a:extLst>
          </p:cNvPr>
          <p:cNvGraphicFramePr>
            <a:graphicFrameLocks noChangeAspect="1"/>
          </p:cNvGraphicFramePr>
          <p:nvPr userDrawn="1">
            <p:custDataLst>
              <p:tags r:id="rId1"/>
            </p:custDataLst>
            <p:extLst>
              <p:ext uri="{D42A27DB-BD31-4B8C-83A1-F6EECF244321}">
                <p14:modId xmlns:p14="http://schemas.microsoft.com/office/powerpoint/2010/main" val="83979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47640497-49A7-4F57-A72A-D81E553A96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6" name="Oval 65">
            <a:extLst>
              <a:ext uri="{FF2B5EF4-FFF2-40B4-BE49-F238E27FC236}">
                <a16:creationId xmlns:a16="http://schemas.microsoft.com/office/drawing/2014/main" id="{9FB0576C-928B-47E9-9C6A-9A9DD98BF4B1}"/>
              </a:ext>
            </a:extLst>
          </p:cNvPr>
          <p:cNvSpPr/>
          <p:nvPr userDrawn="1"/>
        </p:nvSpPr>
        <p:spPr>
          <a:xfrm>
            <a:off x="-2038350" y="-550144"/>
            <a:ext cx="7908132" cy="790813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8" name="Text Placeholder 7">
            <a:extLst>
              <a:ext uri="{FF2B5EF4-FFF2-40B4-BE49-F238E27FC236}">
                <a16:creationId xmlns:a16="http://schemas.microsoft.com/office/drawing/2014/main" id="{605D1A18-34B7-4102-AA62-45CF17CF2BDE}"/>
              </a:ext>
            </a:extLst>
          </p:cNvPr>
          <p:cNvSpPr>
            <a:spLocks noGrp="1"/>
          </p:cNvSpPr>
          <p:nvPr>
            <p:ph type="body" sz="quarter" idx="10" hasCustomPrompt="1"/>
          </p:nvPr>
        </p:nvSpPr>
        <p:spPr>
          <a:xfrm>
            <a:off x="1180367" y="2624347"/>
            <a:ext cx="4712834" cy="1011238"/>
          </a:xfrm>
          <a:prstGeom prst="rect">
            <a:avLst/>
          </a:prstGeom>
        </p:spPr>
        <p:txBody>
          <a:bodyPr anchor="ctr"/>
          <a:lstStyle>
            <a:lvl1pPr marL="0" indent="0" algn="ctr" rtl="0">
              <a:buNone/>
              <a:defRPr sz="4400" cap="all" baseline="0">
                <a:solidFill>
                  <a:schemeClr val="bg1"/>
                </a:solidFill>
                <a:latin typeface="Arial" panose="020B0604020202020204" pitchFamily="34" charset="0"/>
                <a:cs typeface="Arial" panose="020B0604020202020204" pitchFamily="34" charset="0"/>
              </a:defRPr>
            </a:lvl1pPr>
          </a:lstStyle>
          <a:p>
            <a:pPr lvl="0"/>
            <a:r>
              <a:rPr lang="en-US" dirty="0"/>
              <a:t>AGENDA</a:t>
            </a:r>
          </a:p>
        </p:txBody>
      </p:sp>
      <p:sp>
        <p:nvSpPr>
          <p:cNvPr id="57" name="Text Placeholder 56">
            <a:extLst>
              <a:ext uri="{FF2B5EF4-FFF2-40B4-BE49-F238E27FC236}">
                <a16:creationId xmlns:a16="http://schemas.microsoft.com/office/drawing/2014/main" id="{84BAC6C3-DA60-4E81-81D5-9737FCCFEE1A}"/>
              </a:ext>
            </a:extLst>
          </p:cNvPr>
          <p:cNvSpPr>
            <a:spLocks noGrp="1"/>
          </p:cNvSpPr>
          <p:nvPr>
            <p:ph type="body" sz="quarter" idx="11" hasCustomPrompt="1"/>
          </p:nvPr>
        </p:nvSpPr>
        <p:spPr>
          <a:xfrm>
            <a:off x="6577088" y="811004"/>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58" name="Text Placeholder 56">
            <a:extLst>
              <a:ext uri="{FF2B5EF4-FFF2-40B4-BE49-F238E27FC236}">
                <a16:creationId xmlns:a16="http://schemas.microsoft.com/office/drawing/2014/main" id="{8031136A-D182-4DF7-9D99-BF7EC8B91EDC}"/>
              </a:ext>
            </a:extLst>
          </p:cNvPr>
          <p:cNvSpPr>
            <a:spLocks noGrp="1"/>
          </p:cNvSpPr>
          <p:nvPr>
            <p:ph type="body" sz="quarter" idx="12" hasCustomPrompt="1"/>
          </p:nvPr>
        </p:nvSpPr>
        <p:spPr>
          <a:xfrm>
            <a:off x="6577088" y="2335900"/>
            <a:ext cx="452436"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59" name="Text Placeholder 56">
            <a:extLst>
              <a:ext uri="{FF2B5EF4-FFF2-40B4-BE49-F238E27FC236}">
                <a16:creationId xmlns:a16="http://schemas.microsoft.com/office/drawing/2014/main" id="{D5E34B06-0C62-4ADE-9F3B-67BEF1DEC541}"/>
              </a:ext>
            </a:extLst>
          </p:cNvPr>
          <p:cNvSpPr>
            <a:spLocks noGrp="1"/>
          </p:cNvSpPr>
          <p:nvPr>
            <p:ph type="body" sz="quarter" idx="13" hasCustomPrompt="1"/>
          </p:nvPr>
        </p:nvSpPr>
        <p:spPr>
          <a:xfrm>
            <a:off x="6577087" y="3765877"/>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60" name="Text Placeholder 56">
            <a:extLst>
              <a:ext uri="{FF2B5EF4-FFF2-40B4-BE49-F238E27FC236}">
                <a16:creationId xmlns:a16="http://schemas.microsoft.com/office/drawing/2014/main" id="{5E2A81B2-E282-44FF-A1D6-371475021CC8}"/>
              </a:ext>
            </a:extLst>
          </p:cNvPr>
          <p:cNvSpPr>
            <a:spLocks noGrp="1"/>
          </p:cNvSpPr>
          <p:nvPr>
            <p:ph type="body" sz="quarter" idx="14" hasCustomPrompt="1"/>
          </p:nvPr>
        </p:nvSpPr>
        <p:spPr>
          <a:xfrm>
            <a:off x="6577086" y="5195854"/>
            <a:ext cx="452437" cy="566056"/>
          </a:xfrm>
          <a:prstGeom prst="rect">
            <a:avLst/>
          </a:prstGeom>
        </p:spPr>
        <p:txBody>
          <a:bodyPr/>
          <a:lstStyle>
            <a:lvl1pPr marL="0" indent="0" rtl="0">
              <a:buNone/>
              <a:defRPr sz="4000" b="1">
                <a:latin typeface="Arial" panose="020B0604020202020204" pitchFamily="34" charset="0"/>
                <a:cs typeface="Arial" panose="020B0604020202020204" pitchFamily="34" charset="0"/>
              </a:defRPr>
            </a:lvl1pPr>
            <a:lvl5pPr>
              <a:defRPr/>
            </a:lvl5pPr>
          </a:lstStyle>
          <a:p>
            <a:pPr lvl="0"/>
            <a:r>
              <a:rPr lang="en-US" dirty="0"/>
              <a:t>#</a:t>
            </a:r>
          </a:p>
        </p:txBody>
      </p:sp>
      <p:sp>
        <p:nvSpPr>
          <p:cNvPr id="62" name="Text Placeholder 61">
            <a:extLst>
              <a:ext uri="{FF2B5EF4-FFF2-40B4-BE49-F238E27FC236}">
                <a16:creationId xmlns:a16="http://schemas.microsoft.com/office/drawing/2014/main" id="{47A081BE-4A35-4D73-8470-5FA64B5FDE66}"/>
              </a:ext>
            </a:extLst>
          </p:cNvPr>
          <p:cNvSpPr>
            <a:spLocks noGrp="1"/>
          </p:cNvSpPr>
          <p:nvPr>
            <p:ph type="body" sz="quarter" idx="15" hasCustomPrompt="1"/>
          </p:nvPr>
        </p:nvSpPr>
        <p:spPr>
          <a:xfrm>
            <a:off x="6577088" y="1503423"/>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1</a:t>
            </a:r>
          </a:p>
        </p:txBody>
      </p:sp>
      <p:sp>
        <p:nvSpPr>
          <p:cNvPr id="34" name="Arc 33">
            <a:extLst>
              <a:ext uri="{FF2B5EF4-FFF2-40B4-BE49-F238E27FC236}">
                <a16:creationId xmlns:a16="http://schemas.microsoft.com/office/drawing/2014/main" id="{A5A2F370-758D-4F2B-A01A-5780654A0C5A}"/>
              </a:ext>
            </a:extLst>
          </p:cNvPr>
          <p:cNvSpPr/>
          <p:nvPr userDrawn="1"/>
        </p:nvSpPr>
        <p:spPr>
          <a:xfrm>
            <a:off x="1110109" y="2310284"/>
            <a:ext cx="4712835" cy="4712835"/>
          </a:xfrm>
          <a:prstGeom prst="arc">
            <a:avLst>
              <a:gd name="adj1" fmla="val 948285"/>
              <a:gd name="adj2" fmla="val 3193623"/>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3" name="Text Placeholder 61">
            <a:extLst>
              <a:ext uri="{FF2B5EF4-FFF2-40B4-BE49-F238E27FC236}">
                <a16:creationId xmlns:a16="http://schemas.microsoft.com/office/drawing/2014/main" id="{A9D28C72-2467-4128-AAA1-6E57F5A4D757}"/>
              </a:ext>
            </a:extLst>
          </p:cNvPr>
          <p:cNvSpPr>
            <a:spLocks noGrp="1"/>
          </p:cNvSpPr>
          <p:nvPr>
            <p:ph type="body" sz="quarter" idx="16" hasCustomPrompt="1"/>
          </p:nvPr>
        </p:nvSpPr>
        <p:spPr>
          <a:xfrm>
            <a:off x="6577088" y="3028319"/>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2</a:t>
            </a:r>
          </a:p>
        </p:txBody>
      </p:sp>
      <p:sp>
        <p:nvSpPr>
          <p:cNvPr id="64" name="Text Placeholder 61">
            <a:extLst>
              <a:ext uri="{FF2B5EF4-FFF2-40B4-BE49-F238E27FC236}">
                <a16:creationId xmlns:a16="http://schemas.microsoft.com/office/drawing/2014/main" id="{9B07FCD8-D8B8-4F05-9E31-A8F6FE78AD49}"/>
              </a:ext>
            </a:extLst>
          </p:cNvPr>
          <p:cNvSpPr>
            <a:spLocks noGrp="1"/>
          </p:cNvSpPr>
          <p:nvPr>
            <p:ph type="body" sz="quarter" idx="17" hasCustomPrompt="1"/>
          </p:nvPr>
        </p:nvSpPr>
        <p:spPr>
          <a:xfrm>
            <a:off x="6577087" y="4457555"/>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3</a:t>
            </a:r>
          </a:p>
        </p:txBody>
      </p:sp>
      <p:sp>
        <p:nvSpPr>
          <p:cNvPr id="65" name="Text Placeholder 61">
            <a:extLst>
              <a:ext uri="{FF2B5EF4-FFF2-40B4-BE49-F238E27FC236}">
                <a16:creationId xmlns:a16="http://schemas.microsoft.com/office/drawing/2014/main" id="{616BE31F-E375-41B3-9399-0899294F886C}"/>
              </a:ext>
            </a:extLst>
          </p:cNvPr>
          <p:cNvSpPr>
            <a:spLocks noGrp="1"/>
          </p:cNvSpPr>
          <p:nvPr>
            <p:ph type="body" sz="quarter" idx="18" hasCustomPrompt="1"/>
          </p:nvPr>
        </p:nvSpPr>
        <p:spPr>
          <a:xfrm>
            <a:off x="6577087" y="5886791"/>
            <a:ext cx="2671762" cy="427038"/>
          </a:xfrm>
          <a:prstGeom prst="rect">
            <a:avLst/>
          </a:prstGeom>
        </p:spPr>
        <p:txBody>
          <a:bodyPr/>
          <a:lstStyle>
            <a:lvl1pPr marL="0" indent="0" rtl="0">
              <a:buNone/>
              <a:defRPr sz="2400">
                <a:latin typeface="Arial Narrow" panose="020B0606020202030204" pitchFamily="34" charset="0"/>
              </a:defRPr>
            </a:lvl1pPr>
          </a:lstStyle>
          <a:p>
            <a:pPr lvl="0"/>
            <a:r>
              <a:rPr lang="en-US" dirty="0"/>
              <a:t>Content 4</a:t>
            </a:r>
          </a:p>
        </p:txBody>
      </p:sp>
      <p:pic>
        <p:nvPicPr>
          <p:cNvPr id="69" name="Picture 68" descr="A drawing of a face&#10;&#10;Description automatically generated">
            <a:extLst>
              <a:ext uri="{FF2B5EF4-FFF2-40B4-BE49-F238E27FC236}">
                <a16:creationId xmlns:a16="http://schemas.microsoft.com/office/drawing/2014/main" id="{81B467BE-15F1-4C17-849A-A298CF7A322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059" y="364195"/>
            <a:ext cx="1020359" cy="228600"/>
          </a:xfrm>
          <a:prstGeom prst="rect">
            <a:avLst/>
          </a:prstGeom>
        </p:spPr>
      </p:pic>
      <p:sp>
        <p:nvSpPr>
          <p:cNvPr id="70" name="Arc 69">
            <a:extLst>
              <a:ext uri="{FF2B5EF4-FFF2-40B4-BE49-F238E27FC236}">
                <a16:creationId xmlns:a16="http://schemas.microsoft.com/office/drawing/2014/main" id="{C5F19857-18AA-4C46-8B5A-F82218BF191D}"/>
              </a:ext>
            </a:extLst>
          </p:cNvPr>
          <p:cNvSpPr/>
          <p:nvPr userDrawn="1"/>
        </p:nvSpPr>
        <p:spPr>
          <a:xfrm>
            <a:off x="226583" y="1039014"/>
            <a:ext cx="4302779" cy="4302778"/>
          </a:xfrm>
          <a:prstGeom prst="arc">
            <a:avLst>
              <a:gd name="adj1" fmla="val 9578326"/>
              <a:gd name="adj2" fmla="val 16407294"/>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pic>
        <p:nvPicPr>
          <p:cNvPr id="78" name="Picture 77" descr="A close up of a sign&#10;&#10;Description automatically generated">
            <a:extLst>
              <a:ext uri="{FF2B5EF4-FFF2-40B4-BE49-F238E27FC236}">
                <a16:creationId xmlns:a16="http://schemas.microsoft.com/office/drawing/2014/main" id="{0C62A078-CDE0-4409-91A6-DF5AB2AFD523}"/>
              </a:ext>
            </a:extLst>
          </p:cNvPr>
          <p:cNvPicPr>
            <a:picLocks noChangeAspect="1"/>
          </p:cNvPicPr>
          <p:nvPr userDrawn="1"/>
        </p:nvPicPr>
        <p:blipFill>
          <a:blip r:embed="rId6">
            <a:lum bright="70000" contrast="-70000"/>
            <a:extLst>
              <a:ext uri="{28A0092B-C50C-407E-A947-70E740481C1C}">
                <a14:useLocalDpi xmlns:a14="http://schemas.microsoft.com/office/drawing/2010/main" val="0"/>
              </a:ext>
            </a:extLst>
          </a:blip>
          <a:stretch>
            <a:fillRect/>
          </a:stretch>
        </p:blipFill>
        <p:spPr>
          <a:xfrm>
            <a:off x="402805" y="6153809"/>
            <a:ext cx="2028042" cy="320040"/>
          </a:xfrm>
          <a:prstGeom prst="rect">
            <a:avLst/>
          </a:prstGeom>
        </p:spPr>
      </p:pic>
    </p:spTree>
    <p:extLst>
      <p:ext uri="{BB962C8B-B14F-4D97-AF65-F5344CB8AC3E}">
        <p14:creationId xmlns:p14="http://schemas.microsoft.com/office/powerpoint/2010/main" val="337446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0339B0-CE33-408B-A5EA-BA3561FF8E3E}"/>
              </a:ext>
            </a:extLst>
          </p:cNvPr>
          <p:cNvGraphicFramePr>
            <a:graphicFrameLocks noChangeAspect="1"/>
          </p:cNvGraphicFramePr>
          <p:nvPr userDrawn="1">
            <p:custDataLst>
              <p:tags r:id="rId1"/>
            </p:custDataLst>
            <p:extLst>
              <p:ext uri="{D42A27DB-BD31-4B8C-83A1-F6EECF244321}">
                <p14:modId xmlns:p14="http://schemas.microsoft.com/office/powerpoint/2010/main" val="2265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6F0339B0-CE33-408B-A5EA-BA3561FF8E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Arc 9">
            <a:extLst>
              <a:ext uri="{FF2B5EF4-FFF2-40B4-BE49-F238E27FC236}">
                <a16:creationId xmlns:a16="http://schemas.microsoft.com/office/drawing/2014/main" id="{A0A37555-A4F4-4D9D-9A78-E1C17FC5ED3D}"/>
              </a:ext>
            </a:extLst>
          </p:cNvPr>
          <p:cNvSpPr/>
          <p:nvPr userDrawn="1"/>
        </p:nvSpPr>
        <p:spPr>
          <a:xfrm rot="21367305">
            <a:off x="1456117" y="453023"/>
            <a:ext cx="3757420" cy="3594648"/>
          </a:xfrm>
          <a:prstGeom prst="arc">
            <a:avLst>
              <a:gd name="adj1" fmla="val 12874001"/>
              <a:gd name="adj2" fmla="val 15724196"/>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DF5CD4C9-971D-4F6D-86B5-5F101C41299E}"/>
              </a:ext>
            </a:extLst>
          </p:cNvPr>
          <p:cNvSpPr/>
          <p:nvPr userDrawn="1"/>
        </p:nvSpPr>
        <p:spPr>
          <a:xfrm rot="21280826">
            <a:off x="7718603" y="2904124"/>
            <a:ext cx="3757420" cy="3594648"/>
          </a:xfrm>
          <a:prstGeom prst="arc">
            <a:avLst>
              <a:gd name="adj1" fmla="val 1819286"/>
              <a:gd name="adj2" fmla="val 3752534"/>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B72246A0-0F20-49C2-B545-DDD32D1DD4E7}"/>
              </a:ext>
            </a:extLst>
          </p:cNvPr>
          <p:cNvSpPr/>
          <p:nvPr userDrawn="1"/>
        </p:nvSpPr>
        <p:spPr>
          <a:xfrm rot="730105">
            <a:off x="1662947" y="706276"/>
            <a:ext cx="3757420" cy="3594648"/>
          </a:xfrm>
          <a:prstGeom prst="arc">
            <a:avLst>
              <a:gd name="adj1" fmla="val 9055134"/>
              <a:gd name="adj2" fmla="val 14510605"/>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5" name="Text Placeholder 7">
            <a:extLst>
              <a:ext uri="{FF2B5EF4-FFF2-40B4-BE49-F238E27FC236}">
                <a16:creationId xmlns:a16="http://schemas.microsoft.com/office/drawing/2014/main" id="{CEC8E69B-A074-493F-91E2-C295E16BF780}"/>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tx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6" name="Text Placeholder 7">
            <a:extLst>
              <a:ext uri="{FF2B5EF4-FFF2-40B4-BE49-F238E27FC236}">
                <a16:creationId xmlns:a16="http://schemas.microsoft.com/office/drawing/2014/main" id="{9B21DFC6-E8B4-4447-B51E-07B6D84F3BFF}"/>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tx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7" name="Straight Connector 16">
            <a:extLst>
              <a:ext uri="{FF2B5EF4-FFF2-40B4-BE49-F238E27FC236}">
                <a16:creationId xmlns:a16="http://schemas.microsoft.com/office/drawing/2014/main" id="{906F465F-9D8F-4D53-B536-67971A3CEF5C}"/>
              </a:ext>
            </a:extLst>
          </p:cNvPr>
          <p:cNvCxnSpPr>
            <a:cxnSpLocks/>
          </p:cNvCxnSpPr>
          <p:nvPr userDrawn="1"/>
        </p:nvCxnSpPr>
        <p:spPr>
          <a:xfrm rot="10800000">
            <a:off x="4136571" y="3331668"/>
            <a:ext cx="794657" cy="0"/>
          </a:xfrm>
          <a:prstGeom prst="line">
            <a:avLst/>
          </a:prstGeom>
          <a:ln w="889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 Placeholder 7">
            <a:extLst>
              <a:ext uri="{FF2B5EF4-FFF2-40B4-BE49-F238E27FC236}">
                <a16:creationId xmlns:a16="http://schemas.microsoft.com/office/drawing/2014/main" id="{6DA81AE9-D017-4B62-BCAC-EA85272F395C}"/>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tx2"/>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3620027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AF9B191-4A00-4090-8609-519A62C8EA0C}"/>
              </a:ext>
            </a:extLst>
          </p:cNvPr>
          <p:cNvGraphicFramePr>
            <a:graphicFrameLocks noChangeAspect="1"/>
          </p:cNvGraphicFramePr>
          <p:nvPr userDrawn="1">
            <p:custDataLst>
              <p:tags r:id="rId1"/>
            </p:custDataLst>
            <p:extLst>
              <p:ext uri="{D42A27DB-BD31-4B8C-83A1-F6EECF244321}">
                <p14:modId xmlns:p14="http://schemas.microsoft.com/office/powerpoint/2010/main" val="1476925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4AF9B191-4A00-4090-8609-519A62C8EA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7">
            <a:extLst>
              <a:ext uri="{FF2B5EF4-FFF2-40B4-BE49-F238E27FC236}">
                <a16:creationId xmlns:a16="http://schemas.microsoft.com/office/drawing/2014/main" id="{204EA1BE-DD6D-42EB-B925-CDA81BFAC3E9}"/>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8" name="Text Placeholder 7">
            <a:extLst>
              <a:ext uri="{FF2B5EF4-FFF2-40B4-BE49-F238E27FC236}">
                <a16:creationId xmlns:a16="http://schemas.microsoft.com/office/drawing/2014/main" id="{50F147FF-0D0F-47D8-B93A-69A7AF8C4D0F}"/>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sp>
        <p:nvSpPr>
          <p:cNvPr id="10" name="Arc 9">
            <a:extLst>
              <a:ext uri="{FF2B5EF4-FFF2-40B4-BE49-F238E27FC236}">
                <a16:creationId xmlns:a16="http://schemas.microsoft.com/office/drawing/2014/main" id="{8E884817-93F3-4FB2-8CF1-6DD43DC19FFE}"/>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1" name="Arc 10">
            <a:extLst>
              <a:ext uri="{FF2B5EF4-FFF2-40B4-BE49-F238E27FC236}">
                <a16:creationId xmlns:a16="http://schemas.microsoft.com/office/drawing/2014/main" id="{1F56AF49-5E2E-4C36-9E90-1E1E5F7C3D0E}"/>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12" name="Arc 11">
            <a:extLst>
              <a:ext uri="{FF2B5EF4-FFF2-40B4-BE49-F238E27FC236}">
                <a16:creationId xmlns:a16="http://schemas.microsoft.com/office/drawing/2014/main" id="{11799D56-8E8C-41D3-BC09-C95851FE4501}"/>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cxnSp>
        <p:nvCxnSpPr>
          <p:cNvPr id="14" name="Straight Connector 13">
            <a:extLst>
              <a:ext uri="{FF2B5EF4-FFF2-40B4-BE49-F238E27FC236}">
                <a16:creationId xmlns:a16="http://schemas.microsoft.com/office/drawing/2014/main" id="{44893E04-A4D8-4497-A0A7-ACD7EF6B63C2}"/>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7">
            <a:extLst>
              <a:ext uri="{FF2B5EF4-FFF2-40B4-BE49-F238E27FC236}">
                <a16:creationId xmlns:a16="http://schemas.microsoft.com/office/drawing/2014/main" id="{5A8BE3D0-E081-4B0B-8ABD-C1B976968C71}"/>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1235446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Blu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671CF2-CE17-4F2F-AC39-098B42480BE3}"/>
              </a:ext>
            </a:extLst>
          </p:cNvPr>
          <p:cNvGraphicFramePr>
            <a:graphicFrameLocks noChangeAspect="1"/>
          </p:cNvGraphicFramePr>
          <p:nvPr userDrawn="1">
            <p:custDataLst>
              <p:tags r:id="rId1"/>
            </p:custDataLst>
            <p:extLst>
              <p:ext uri="{D42A27DB-BD31-4B8C-83A1-F6EECF244321}">
                <p14:modId xmlns:p14="http://schemas.microsoft.com/office/powerpoint/2010/main" val="3628551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 name="Object 1" hidden="1">
                        <a:extLst>
                          <a:ext uri="{FF2B5EF4-FFF2-40B4-BE49-F238E27FC236}">
                            <a16:creationId xmlns:a16="http://schemas.microsoft.com/office/drawing/2014/main" id="{CE671CF2-CE17-4F2F-AC39-098B42480B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Arc 3">
            <a:extLst>
              <a:ext uri="{FF2B5EF4-FFF2-40B4-BE49-F238E27FC236}">
                <a16:creationId xmlns:a16="http://schemas.microsoft.com/office/drawing/2014/main" id="{580D9C47-BCDA-446B-937A-257AD32C9A11}"/>
              </a:ext>
            </a:extLst>
          </p:cNvPr>
          <p:cNvSpPr/>
          <p:nvPr userDrawn="1"/>
        </p:nvSpPr>
        <p:spPr>
          <a:xfrm rot="21367305">
            <a:off x="1456117" y="453023"/>
            <a:ext cx="3757420" cy="3594648"/>
          </a:xfrm>
          <a:prstGeom prst="arc">
            <a:avLst>
              <a:gd name="adj1" fmla="val 12874001"/>
              <a:gd name="adj2" fmla="val 157241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5" name="Arc 4">
            <a:extLst>
              <a:ext uri="{FF2B5EF4-FFF2-40B4-BE49-F238E27FC236}">
                <a16:creationId xmlns:a16="http://schemas.microsoft.com/office/drawing/2014/main" id="{19609AED-1CCF-4D4F-8D68-601BF1BCA6D8}"/>
              </a:ext>
            </a:extLst>
          </p:cNvPr>
          <p:cNvSpPr/>
          <p:nvPr userDrawn="1"/>
        </p:nvSpPr>
        <p:spPr>
          <a:xfrm rot="21280826">
            <a:off x="7718603" y="2904124"/>
            <a:ext cx="3757420" cy="3594648"/>
          </a:xfrm>
          <a:prstGeom prst="arc">
            <a:avLst>
              <a:gd name="adj1" fmla="val 1819286"/>
              <a:gd name="adj2" fmla="val 3752534"/>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Arc 5">
            <a:extLst>
              <a:ext uri="{FF2B5EF4-FFF2-40B4-BE49-F238E27FC236}">
                <a16:creationId xmlns:a16="http://schemas.microsoft.com/office/drawing/2014/main" id="{E865162D-BD59-418F-95FC-7A0F78B9A7DD}"/>
              </a:ext>
            </a:extLst>
          </p:cNvPr>
          <p:cNvSpPr/>
          <p:nvPr userDrawn="1"/>
        </p:nvSpPr>
        <p:spPr>
          <a:xfrm rot="730105">
            <a:off x="1662947" y="706276"/>
            <a:ext cx="3757420" cy="3594648"/>
          </a:xfrm>
          <a:prstGeom prst="arc">
            <a:avLst>
              <a:gd name="adj1" fmla="val 9055134"/>
              <a:gd name="adj2" fmla="val 14510605"/>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9" name="Text Placeholder 7">
            <a:extLst>
              <a:ext uri="{FF2B5EF4-FFF2-40B4-BE49-F238E27FC236}">
                <a16:creationId xmlns:a16="http://schemas.microsoft.com/office/drawing/2014/main" id="{AA8C7DBA-3906-4ACD-B0DC-5886DE4994AF}"/>
              </a:ext>
            </a:extLst>
          </p:cNvPr>
          <p:cNvSpPr>
            <a:spLocks noGrp="1"/>
          </p:cNvSpPr>
          <p:nvPr>
            <p:ph type="body" sz="quarter" idx="10" hasCustomPrompt="1"/>
          </p:nvPr>
        </p:nvSpPr>
        <p:spPr>
          <a:xfrm>
            <a:off x="4136571" y="1741488"/>
            <a:ext cx="3733800" cy="1524226"/>
          </a:xfrm>
          <a:prstGeom prst="rect">
            <a:avLst/>
          </a:prstGeom>
        </p:spPr>
        <p:txBody>
          <a:bodyPr anchor="b"/>
          <a:lstStyle>
            <a:lvl1pPr marL="0" indent="0" algn="l" rtl="0">
              <a:buNone/>
              <a:defRPr sz="360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TITLE</a:t>
            </a:r>
          </a:p>
        </p:txBody>
      </p:sp>
      <p:sp>
        <p:nvSpPr>
          <p:cNvPr id="10" name="Text Placeholder 7">
            <a:extLst>
              <a:ext uri="{FF2B5EF4-FFF2-40B4-BE49-F238E27FC236}">
                <a16:creationId xmlns:a16="http://schemas.microsoft.com/office/drawing/2014/main" id="{A8BB2347-E5FF-4294-B1C3-399405F4240C}"/>
              </a:ext>
            </a:extLst>
          </p:cNvPr>
          <p:cNvSpPr>
            <a:spLocks noGrp="1"/>
          </p:cNvSpPr>
          <p:nvPr>
            <p:ph type="body" sz="quarter" idx="11" hasCustomPrompt="1"/>
          </p:nvPr>
        </p:nvSpPr>
        <p:spPr>
          <a:xfrm>
            <a:off x="4136571" y="3603173"/>
            <a:ext cx="6368143" cy="1524226"/>
          </a:xfrm>
          <a:prstGeom prst="rect">
            <a:avLst/>
          </a:prstGeom>
        </p:spPr>
        <p:txBody>
          <a:bodyPr/>
          <a:lstStyle>
            <a:lvl1pPr marL="0" indent="0" algn="l" rtl="0">
              <a:buNone/>
              <a:defRPr sz="2800" b="1" cap="none" baseline="0">
                <a:solidFill>
                  <a:schemeClr val="bg1"/>
                </a:solidFill>
                <a:latin typeface="Arial Narrow" panose="020B060602020203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Divider subtitle</a:t>
            </a:r>
          </a:p>
        </p:txBody>
      </p:sp>
      <p:cxnSp>
        <p:nvCxnSpPr>
          <p:cNvPr id="11" name="Straight Connector 10">
            <a:extLst>
              <a:ext uri="{FF2B5EF4-FFF2-40B4-BE49-F238E27FC236}">
                <a16:creationId xmlns:a16="http://schemas.microsoft.com/office/drawing/2014/main" id="{CEE27614-CFE7-4D41-944E-26B69A233C0A}"/>
              </a:ext>
            </a:extLst>
          </p:cNvPr>
          <p:cNvCxnSpPr>
            <a:cxnSpLocks/>
          </p:cNvCxnSpPr>
          <p:nvPr userDrawn="1"/>
        </p:nvCxnSpPr>
        <p:spPr>
          <a:xfrm rot="10800000">
            <a:off x="4136571" y="3331668"/>
            <a:ext cx="794657"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685DDC28-DCD4-43BD-AE96-C7B31858D724}"/>
              </a:ext>
            </a:extLst>
          </p:cNvPr>
          <p:cNvSpPr>
            <a:spLocks noGrp="1"/>
          </p:cNvSpPr>
          <p:nvPr>
            <p:ph type="body" sz="quarter" idx="13" hasCustomPrompt="1"/>
          </p:nvPr>
        </p:nvSpPr>
        <p:spPr>
          <a:xfrm>
            <a:off x="2783271" y="1741488"/>
            <a:ext cx="551556" cy="642371"/>
          </a:xfrm>
          <a:prstGeom prst="rect">
            <a:avLst/>
          </a:prstGeom>
        </p:spPr>
        <p:txBody>
          <a:bodyPr/>
          <a:lstStyle>
            <a:lvl1pPr marL="0" indent="0" algn="r" rtl="0">
              <a:buNone/>
              <a:defRPr sz="5400" b="0" cap="all" baseline="0">
                <a:solidFill>
                  <a:schemeClr val="bg1"/>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dirty="0"/>
              <a:t>#</a:t>
            </a:r>
          </a:p>
        </p:txBody>
      </p:sp>
    </p:spTree>
    <p:extLst>
      <p:ext uri="{BB962C8B-B14F-4D97-AF65-F5344CB8AC3E}">
        <p14:creationId xmlns:p14="http://schemas.microsoft.com/office/powerpoint/2010/main" val="4151376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theme" Target="../theme/theme3.xml"/><Relationship Id="rId3" Type="http://schemas.openxmlformats.org/officeDocument/2006/relationships/slideLayout" Target="../slideLayouts/slideLayout9.xml"/><Relationship Id="rId21" Type="http://schemas.openxmlformats.org/officeDocument/2006/relationships/image" Target="../media/image1.emf"/><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oleObject" Target="../embeddings/oleObject9.bin"/><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tags" Target="../tags/tag10.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oleObject" Target="../embeddings/oleObject27.bin"/><Relationship Id="rId3" Type="http://schemas.openxmlformats.org/officeDocument/2006/relationships/slideLayout" Target="../slideLayouts/slideLayout26.xml"/><Relationship Id="rId21" Type="http://schemas.openxmlformats.org/officeDocument/2006/relationships/image" Target="../media/image4.pn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28.xml"/><Relationship Id="rId2" Type="http://schemas.openxmlformats.org/officeDocument/2006/relationships/slideLayout" Target="../slideLayouts/slideLayout25.xml"/><Relationship Id="rId16" Type="http://schemas.openxmlformats.org/officeDocument/2006/relationships/theme" Target="../theme/theme4.xml"/><Relationship Id="rId20"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slideLayout" Target="../slideLayouts/slideLayout41.xml"/><Relationship Id="rId7" Type="http://schemas.openxmlformats.org/officeDocument/2006/relationships/tags" Target="../tags/tag4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5.xml"/><Relationship Id="rId5" Type="http://schemas.openxmlformats.org/officeDocument/2006/relationships/slideLayout" Target="../slideLayouts/slideLayout43.xml"/><Relationship Id="rId4" Type="http://schemas.openxmlformats.org/officeDocument/2006/relationships/slideLayout" Target="../slideLayouts/slideLayout4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1.emf"/><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oleObject" Target="../embeddings/oleObject49.bin"/><Relationship Id="rId5" Type="http://schemas.openxmlformats.org/officeDocument/2006/relationships/tags" Target="../tags/tag50.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759392-D749-4F5E-AB9A-F45E3A0BBE96}"/>
              </a:ext>
            </a:extLst>
          </p:cNvPr>
          <p:cNvGraphicFramePr>
            <a:graphicFrameLocks noChangeAspect="1"/>
          </p:cNvGraphicFramePr>
          <p:nvPr userDrawn="1">
            <p:custDataLst>
              <p:tags r:id="rId6"/>
            </p:custDataLst>
            <p:extLst>
              <p:ext uri="{D42A27DB-BD31-4B8C-83A1-F6EECF244321}">
                <p14:modId xmlns:p14="http://schemas.microsoft.com/office/powerpoint/2010/main" val="3241652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1" imgH="423" progId="TCLayout.ActiveDocument.1">
                  <p:embed/>
                </p:oleObj>
              </mc:Choice>
              <mc:Fallback>
                <p:oleObj name="think-cell Slide" r:id="rId7" imgW="421" imgH="423" progId="TCLayout.ActiveDocument.1">
                  <p:embed/>
                  <p:pic>
                    <p:nvPicPr>
                      <p:cNvPr id="3" name="Object 2" hidden="1">
                        <a:extLst>
                          <a:ext uri="{FF2B5EF4-FFF2-40B4-BE49-F238E27FC236}">
                            <a16:creationId xmlns:a16="http://schemas.microsoft.com/office/drawing/2014/main" id="{61759392-D749-4F5E-AB9A-F45E3A0BBE9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descr="A close up of a logo&#10;&#10;Description automatically generated">
            <a:extLst>
              <a:ext uri="{FF2B5EF4-FFF2-40B4-BE49-F238E27FC236}">
                <a16:creationId xmlns:a16="http://schemas.microsoft.com/office/drawing/2014/main" id="{0202182D-8F11-4642-AA23-BD9EE5EE9ED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40061" y="359503"/>
            <a:ext cx="1020359" cy="228600"/>
          </a:xfrm>
          <a:prstGeom prst="rect">
            <a:avLst/>
          </a:prstGeom>
        </p:spPr>
      </p:pic>
      <p:sp>
        <p:nvSpPr>
          <p:cNvPr id="9" name="Oval 8">
            <a:extLst>
              <a:ext uri="{FF2B5EF4-FFF2-40B4-BE49-F238E27FC236}">
                <a16:creationId xmlns:a16="http://schemas.microsoft.com/office/drawing/2014/main" id="{B11369AB-F488-4D95-A632-141EEFCB65B9}"/>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rPr>
              <a:t>Primary</a:t>
            </a:r>
          </a:p>
        </p:txBody>
      </p:sp>
      <p:sp>
        <p:nvSpPr>
          <p:cNvPr id="11" name="Oval 10">
            <a:extLst>
              <a:ext uri="{FF2B5EF4-FFF2-40B4-BE49-F238E27FC236}">
                <a16:creationId xmlns:a16="http://schemas.microsoft.com/office/drawing/2014/main" id="{CC5DCE90-7B71-4A73-8DEA-50DB65C76285}"/>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rPr>
              <a:t>Secondary 2</a:t>
            </a:r>
          </a:p>
        </p:txBody>
      </p:sp>
      <p:sp>
        <p:nvSpPr>
          <p:cNvPr id="12" name="Oval 11">
            <a:extLst>
              <a:ext uri="{FF2B5EF4-FFF2-40B4-BE49-F238E27FC236}">
                <a16:creationId xmlns:a16="http://schemas.microsoft.com/office/drawing/2014/main" id="{E0CBBA5E-32F6-455E-BE38-533C8C0C2DAE}"/>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Accent</a:t>
            </a:r>
          </a:p>
        </p:txBody>
      </p:sp>
      <p:sp>
        <p:nvSpPr>
          <p:cNvPr id="13" name="Oval 12">
            <a:extLst>
              <a:ext uri="{FF2B5EF4-FFF2-40B4-BE49-F238E27FC236}">
                <a16:creationId xmlns:a16="http://schemas.microsoft.com/office/drawing/2014/main" id="{074C98FD-50BA-4C2D-9C88-F2D7B3ED5F6B}"/>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rPr>
              <a:t>Highlight</a:t>
            </a:r>
          </a:p>
        </p:txBody>
      </p:sp>
      <p:sp>
        <p:nvSpPr>
          <p:cNvPr id="2" name="TextBox 1">
            <a:extLst>
              <a:ext uri="{FF2B5EF4-FFF2-40B4-BE49-F238E27FC236}">
                <a16:creationId xmlns:a16="http://schemas.microsoft.com/office/drawing/2014/main" id="{75307A78-1097-4B24-9E3B-B2AA138CF756}"/>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
        <p:nvSpPr>
          <p:cNvPr id="15" name="Oval 14">
            <a:extLst>
              <a:ext uri="{FF2B5EF4-FFF2-40B4-BE49-F238E27FC236}">
                <a16:creationId xmlns:a16="http://schemas.microsoft.com/office/drawing/2014/main" id="{C98C07C9-FB85-4201-AEF1-02F32CFE27BC}"/>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pic>
        <p:nvPicPr>
          <p:cNvPr id="4" name="Picture 3">
            <a:extLst>
              <a:ext uri="{FF2B5EF4-FFF2-40B4-BE49-F238E27FC236}">
                <a16:creationId xmlns:a16="http://schemas.microsoft.com/office/drawing/2014/main" id="{DF4157D8-FE46-4B41-91AF-FA95759EC6E4}"/>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05350" y="5839786"/>
            <a:ext cx="1255070" cy="887042"/>
          </a:xfrm>
          <a:prstGeom prst="rect">
            <a:avLst/>
          </a:prstGeom>
        </p:spPr>
      </p:pic>
    </p:spTree>
    <p:extLst>
      <p:ext uri="{BB962C8B-B14F-4D97-AF65-F5344CB8AC3E}">
        <p14:creationId xmlns:p14="http://schemas.microsoft.com/office/powerpoint/2010/main" val="254640754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Lst>
  <p:txStyles>
    <p:titleStyle>
      <a:lvl1pPr algn="l" defTabSz="914400" rtl="0" eaLnBrk="1" latinLnBrk="0" hangingPunct="1">
        <a:lnSpc>
          <a:spcPct val="90000"/>
        </a:lnSpc>
        <a:spcBef>
          <a:spcPct val="0"/>
        </a:spcBef>
        <a:buNone/>
        <a:defRPr sz="4400" kern="1200">
          <a:solidFill>
            <a:schemeClr val="tx1"/>
          </a:solidFill>
          <a:latin typeface="Arial Narrow" panose="020B060602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7043E2-7FCF-4BE3-8FC6-59744274BF9F}"/>
              </a:ext>
            </a:extLst>
          </p:cNvPr>
          <p:cNvGraphicFramePr>
            <a:graphicFrameLocks noChangeAspect="1"/>
          </p:cNvGraphicFramePr>
          <p:nvPr userDrawn="1">
            <p:custDataLst>
              <p:tags r:id="rId4"/>
            </p:custDataLst>
            <p:extLst>
              <p:ext uri="{D42A27DB-BD31-4B8C-83A1-F6EECF244321}">
                <p14:modId xmlns:p14="http://schemas.microsoft.com/office/powerpoint/2010/main" val="1491027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3" name="Object 2" hidden="1">
                        <a:extLst>
                          <a:ext uri="{FF2B5EF4-FFF2-40B4-BE49-F238E27FC236}">
                            <a16:creationId xmlns:a16="http://schemas.microsoft.com/office/drawing/2014/main" id="{217043E2-7FCF-4BE3-8FC6-59744274BF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Oval 19">
            <a:extLst>
              <a:ext uri="{FF2B5EF4-FFF2-40B4-BE49-F238E27FC236}">
                <a16:creationId xmlns:a16="http://schemas.microsoft.com/office/drawing/2014/main" id="{BCD23D04-D0ED-4403-882B-ECDB94527264}"/>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mj-lt"/>
              </a:rPr>
              <a:t>Primary</a:t>
            </a:r>
          </a:p>
        </p:txBody>
      </p:sp>
      <p:sp>
        <p:nvSpPr>
          <p:cNvPr id="22" name="Oval 21">
            <a:extLst>
              <a:ext uri="{FF2B5EF4-FFF2-40B4-BE49-F238E27FC236}">
                <a16:creationId xmlns:a16="http://schemas.microsoft.com/office/drawing/2014/main" id="{035E9CD2-898E-4F3F-A48A-BEB3988F6664}"/>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mj-lt"/>
              </a:rPr>
              <a:t>Secondary 2</a:t>
            </a:r>
          </a:p>
        </p:txBody>
      </p:sp>
      <p:sp>
        <p:nvSpPr>
          <p:cNvPr id="23" name="Oval 22">
            <a:extLst>
              <a:ext uri="{FF2B5EF4-FFF2-40B4-BE49-F238E27FC236}">
                <a16:creationId xmlns:a16="http://schemas.microsoft.com/office/drawing/2014/main" id="{21523CB1-C61F-4CEC-AF4E-0C60B382C99E}"/>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Accent</a:t>
            </a:r>
          </a:p>
        </p:txBody>
      </p:sp>
      <p:sp>
        <p:nvSpPr>
          <p:cNvPr id="24" name="Oval 23">
            <a:extLst>
              <a:ext uri="{FF2B5EF4-FFF2-40B4-BE49-F238E27FC236}">
                <a16:creationId xmlns:a16="http://schemas.microsoft.com/office/drawing/2014/main" id="{F3374D2A-368B-498A-AB91-DC9D772B0184}"/>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Highlight</a:t>
            </a:r>
          </a:p>
        </p:txBody>
      </p:sp>
      <p:sp>
        <p:nvSpPr>
          <p:cNvPr id="2" name="TextBox 1">
            <a:extLst>
              <a:ext uri="{FF2B5EF4-FFF2-40B4-BE49-F238E27FC236}">
                <a16:creationId xmlns:a16="http://schemas.microsoft.com/office/drawing/2014/main" id="{05F92996-6B6F-4C24-A3CE-C0E60AB56ED6}"/>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
        <p:nvSpPr>
          <p:cNvPr id="11" name="Oval 10">
            <a:extLst>
              <a:ext uri="{FF2B5EF4-FFF2-40B4-BE49-F238E27FC236}">
                <a16:creationId xmlns:a16="http://schemas.microsoft.com/office/drawing/2014/main" id="{FE2AAFBB-C779-4236-BFDF-7919CADD90C0}"/>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pic>
        <p:nvPicPr>
          <p:cNvPr id="12" name="Picture 11" descr="A close up of a logo&#10;&#10;Description automatically generated">
            <a:extLst>
              <a:ext uri="{FF2B5EF4-FFF2-40B4-BE49-F238E27FC236}">
                <a16:creationId xmlns:a16="http://schemas.microsoft.com/office/drawing/2014/main" id="{DD2FEBA4-FBE2-4903-92CB-374ACA61AE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01416" y="286237"/>
            <a:ext cx="816288" cy="182880"/>
          </a:xfrm>
          <a:prstGeom prst="rect">
            <a:avLst/>
          </a:prstGeom>
        </p:spPr>
      </p:pic>
      <p:pic>
        <p:nvPicPr>
          <p:cNvPr id="13" name="Picture 12" descr="A close up of a sign&#10;&#10;Description automatically generated">
            <a:extLst>
              <a:ext uri="{FF2B5EF4-FFF2-40B4-BE49-F238E27FC236}">
                <a16:creationId xmlns:a16="http://schemas.microsoft.com/office/drawing/2014/main" id="{ACFC5ECF-10F0-4362-BFCA-16F9D194836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Tree>
    <p:extLst>
      <p:ext uri="{BB962C8B-B14F-4D97-AF65-F5344CB8AC3E}">
        <p14:creationId xmlns:p14="http://schemas.microsoft.com/office/powerpoint/2010/main" val="1294353456"/>
      </p:ext>
    </p:extLst>
  </p:cSld>
  <p:clrMap bg1="lt1" tx1="dk1" bg2="lt2" tx2="dk2" accent1="accent1" accent2="accent2" accent3="accent3" accent4="accent4" accent5="accent5" accent6="accent6" hlink="hlink" folHlink="folHlink"/>
  <p:sldLayoutIdLst>
    <p:sldLayoutId id="2147483722" r:id="rId1"/>
    <p:sldLayoutId id="2147483723" r:id="rId2"/>
  </p:sldLayoutIdLst>
  <p:txStyles>
    <p:titleStyle>
      <a:lvl1pPr algn="l" defTabSz="914400" rtl="0" eaLnBrk="1" latinLnBrk="0" hangingPunct="1">
        <a:lnSpc>
          <a:spcPct val="90000"/>
        </a:lnSpc>
        <a:spcBef>
          <a:spcPct val="0"/>
        </a:spcBef>
        <a:buNone/>
        <a:defRPr sz="4400" kern="1200">
          <a:solidFill>
            <a:srgbClr val="003366"/>
          </a:solidFill>
          <a:latin typeface="Arial Narrow" panose="020B060602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16">
          <p15:clr>
            <a:srgbClr val="F26B43"/>
          </p15:clr>
        </p15:guide>
        <p15:guide id="4" orient="horz" pos="415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A02802-A9B6-4F5E-A5D4-80B87B6E3B9B}"/>
              </a:ext>
            </a:extLst>
          </p:cNvPr>
          <p:cNvGraphicFramePr>
            <a:graphicFrameLocks noChangeAspect="1"/>
          </p:cNvGraphicFramePr>
          <p:nvPr userDrawn="1">
            <p:custDataLst>
              <p:tags r:id="rId19"/>
            </p:custDataLst>
            <p:extLst>
              <p:ext uri="{D42A27DB-BD31-4B8C-83A1-F6EECF244321}">
                <p14:modId xmlns:p14="http://schemas.microsoft.com/office/powerpoint/2010/main" val="984740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1" imgH="423" progId="TCLayout.ActiveDocument.1">
                  <p:embed/>
                </p:oleObj>
              </mc:Choice>
              <mc:Fallback>
                <p:oleObj name="think-cell Slide" r:id="rId20" imgW="421" imgH="423" progId="TCLayout.ActiveDocument.1">
                  <p:embed/>
                  <p:pic>
                    <p:nvPicPr>
                      <p:cNvPr id="3" name="Object 2" hidden="1">
                        <a:extLst>
                          <a:ext uri="{FF2B5EF4-FFF2-40B4-BE49-F238E27FC236}">
                            <a16:creationId xmlns:a16="http://schemas.microsoft.com/office/drawing/2014/main" id="{B8A02802-A9B6-4F5E-A5D4-80B87B6E3B9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2" name="Oval 11">
            <a:extLst>
              <a:ext uri="{FF2B5EF4-FFF2-40B4-BE49-F238E27FC236}">
                <a16:creationId xmlns:a16="http://schemas.microsoft.com/office/drawing/2014/main" id="{99E3250C-53A5-4C90-A360-23C74920ED53}"/>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Arial" panose="020B0604020202020204" pitchFamily="34" charset="0"/>
                <a:cs typeface="Arial" panose="020B0604020202020204" pitchFamily="34" charset="0"/>
              </a:rPr>
              <a:t>Primary</a:t>
            </a:r>
          </a:p>
        </p:txBody>
      </p:sp>
      <p:sp>
        <p:nvSpPr>
          <p:cNvPr id="14" name="Oval 13">
            <a:extLst>
              <a:ext uri="{FF2B5EF4-FFF2-40B4-BE49-F238E27FC236}">
                <a16:creationId xmlns:a16="http://schemas.microsoft.com/office/drawing/2014/main" id="{1F43E76A-09E2-48E2-9734-EE67205755F5}"/>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Arial" panose="020B0604020202020204" pitchFamily="34" charset="0"/>
                <a:cs typeface="Arial" panose="020B0604020202020204" pitchFamily="34" charset="0"/>
              </a:rPr>
              <a:t>Secondary 2</a:t>
            </a:r>
          </a:p>
        </p:txBody>
      </p:sp>
      <p:sp>
        <p:nvSpPr>
          <p:cNvPr id="15" name="Oval 14">
            <a:extLst>
              <a:ext uri="{FF2B5EF4-FFF2-40B4-BE49-F238E27FC236}">
                <a16:creationId xmlns:a16="http://schemas.microsoft.com/office/drawing/2014/main" id="{D57AF2F2-C314-4442-A3B2-F6C97FD636A5}"/>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Arial" panose="020B0604020202020204" pitchFamily="34" charset="0"/>
                <a:cs typeface="Arial" panose="020B0604020202020204" pitchFamily="34" charset="0"/>
              </a:rPr>
              <a:t>Accent</a:t>
            </a:r>
          </a:p>
        </p:txBody>
      </p:sp>
      <p:sp>
        <p:nvSpPr>
          <p:cNvPr id="16" name="Oval 15">
            <a:extLst>
              <a:ext uri="{FF2B5EF4-FFF2-40B4-BE49-F238E27FC236}">
                <a16:creationId xmlns:a16="http://schemas.microsoft.com/office/drawing/2014/main" id="{AFE11A3F-8F17-43E7-81A4-DB2F848AFD88}"/>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Arial" panose="020B0604020202020204" pitchFamily="34" charset="0"/>
                <a:cs typeface="Arial" panose="020B0604020202020204" pitchFamily="34" charset="0"/>
              </a:rPr>
              <a:t>Highlight</a:t>
            </a:r>
          </a:p>
        </p:txBody>
      </p:sp>
      <p:sp>
        <p:nvSpPr>
          <p:cNvPr id="2" name="TextBox 1">
            <a:extLst>
              <a:ext uri="{FF2B5EF4-FFF2-40B4-BE49-F238E27FC236}">
                <a16:creationId xmlns:a16="http://schemas.microsoft.com/office/drawing/2014/main" id="{D934EC28-94B5-4F38-8E9E-CB455BFA1FC4}"/>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
        <p:nvSpPr>
          <p:cNvPr id="8" name="Oval 7">
            <a:extLst>
              <a:ext uri="{FF2B5EF4-FFF2-40B4-BE49-F238E27FC236}">
                <a16:creationId xmlns:a16="http://schemas.microsoft.com/office/drawing/2014/main" id="{17B25403-B61A-4769-9F16-4577D285B429}"/>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Tree>
    <p:extLst>
      <p:ext uri="{BB962C8B-B14F-4D97-AF65-F5344CB8AC3E}">
        <p14:creationId xmlns:p14="http://schemas.microsoft.com/office/powerpoint/2010/main" val="397473931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77"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07810D-FF47-4B9D-A571-A3EAC1877FB9}"/>
              </a:ext>
            </a:extLst>
          </p:cNvPr>
          <p:cNvGraphicFramePr>
            <a:graphicFrameLocks noChangeAspect="1"/>
          </p:cNvGraphicFramePr>
          <p:nvPr userDrawn="1">
            <p:custDataLst>
              <p:tags r:id="rId17"/>
            </p:custDataLst>
            <p:extLst>
              <p:ext uri="{D42A27DB-BD31-4B8C-83A1-F6EECF244321}">
                <p14:modId xmlns:p14="http://schemas.microsoft.com/office/powerpoint/2010/main" val="1090409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21" imgH="423" progId="TCLayout.ActiveDocument.1">
                  <p:embed/>
                </p:oleObj>
              </mc:Choice>
              <mc:Fallback>
                <p:oleObj name="think-cell Slide" r:id="rId18" imgW="421" imgH="423" progId="TCLayout.ActiveDocument.1">
                  <p:embed/>
                  <p:pic>
                    <p:nvPicPr>
                      <p:cNvPr id="3" name="Object 2" hidden="1">
                        <a:extLst>
                          <a:ext uri="{FF2B5EF4-FFF2-40B4-BE49-F238E27FC236}">
                            <a16:creationId xmlns:a16="http://schemas.microsoft.com/office/drawing/2014/main" id="{0E07810D-FF47-4B9D-A571-A3EAC1877FB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F7C4D1BB-2EB0-49BF-AE7E-9372E7BA96DA}"/>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mj-lt"/>
              </a:rPr>
              <a:t>Primary</a:t>
            </a:r>
          </a:p>
        </p:txBody>
      </p:sp>
      <p:sp>
        <p:nvSpPr>
          <p:cNvPr id="12" name="Oval 11">
            <a:extLst>
              <a:ext uri="{FF2B5EF4-FFF2-40B4-BE49-F238E27FC236}">
                <a16:creationId xmlns:a16="http://schemas.microsoft.com/office/drawing/2014/main" id="{22BC5256-E71C-4329-B0D2-57EB306EB09E}"/>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mj-lt"/>
              </a:rPr>
              <a:t>Secondary 2</a:t>
            </a:r>
          </a:p>
        </p:txBody>
      </p:sp>
      <p:sp>
        <p:nvSpPr>
          <p:cNvPr id="13" name="Oval 12">
            <a:extLst>
              <a:ext uri="{FF2B5EF4-FFF2-40B4-BE49-F238E27FC236}">
                <a16:creationId xmlns:a16="http://schemas.microsoft.com/office/drawing/2014/main" id="{2EEF4C37-0467-4DAE-90D2-C40B917D6F58}"/>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Accent</a:t>
            </a:r>
          </a:p>
        </p:txBody>
      </p:sp>
      <p:sp>
        <p:nvSpPr>
          <p:cNvPr id="14" name="Oval 13">
            <a:extLst>
              <a:ext uri="{FF2B5EF4-FFF2-40B4-BE49-F238E27FC236}">
                <a16:creationId xmlns:a16="http://schemas.microsoft.com/office/drawing/2014/main" id="{C160E2AD-C245-4753-86B3-928207420532}"/>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Highlight</a:t>
            </a:r>
          </a:p>
        </p:txBody>
      </p:sp>
      <p:pic>
        <p:nvPicPr>
          <p:cNvPr id="16" name="Picture 15" descr="A close up of a logo&#10;&#10;Description automatically generated">
            <a:extLst>
              <a:ext uri="{FF2B5EF4-FFF2-40B4-BE49-F238E27FC236}">
                <a16:creationId xmlns:a16="http://schemas.microsoft.com/office/drawing/2014/main" id="{51854346-A8A2-4A74-948C-775BCF35D465}"/>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401416" y="286237"/>
            <a:ext cx="816288" cy="182880"/>
          </a:xfrm>
          <a:prstGeom prst="rect">
            <a:avLst/>
          </a:prstGeom>
        </p:spPr>
      </p:pic>
      <p:sp>
        <p:nvSpPr>
          <p:cNvPr id="2" name="TextBox 1">
            <a:extLst>
              <a:ext uri="{FF2B5EF4-FFF2-40B4-BE49-F238E27FC236}">
                <a16:creationId xmlns:a16="http://schemas.microsoft.com/office/drawing/2014/main" id="{C7C0C5B5-AB61-4502-B5BC-62B8DAE5750A}"/>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pic>
        <p:nvPicPr>
          <p:cNvPr id="17" name="Picture 16" descr="A close up of a sign&#10;&#10;Description automatically generated">
            <a:extLst>
              <a:ext uri="{FF2B5EF4-FFF2-40B4-BE49-F238E27FC236}">
                <a16:creationId xmlns:a16="http://schemas.microsoft.com/office/drawing/2014/main" id="{9D38A48A-B354-4619-8CA8-F0EC68EDBE3C}"/>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401416" y="6251723"/>
            <a:ext cx="2028042" cy="320040"/>
          </a:xfrm>
          <a:prstGeom prst="rect">
            <a:avLst/>
          </a:prstGeom>
        </p:spPr>
      </p:pic>
      <p:sp>
        <p:nvSpPr>
          <p:cNvPr id="15" name="Oval 14">
            <a:extLst>
              <a:ext uri="{FF2B5EF4-FFF2-40B4-BE49-F238E27FC236}">
                <a16:creationId xmlns:a16="http://schemas.microsoft.com/office/drawing/2014/main" id="{64A771F4-1E68-4056-8981-4014E7E20153}"/>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Tree>
    <p:extLst>
      <p:ext uri="{BB962C8B-B14F-4D97-AF65-F5344CB8AC3E}">
        <p14:creationId xmlns:p14="http://schemas.microsoft.com/office/powerpoint/2010/main" val="1020557832"/>
      </p:ext>
    </p:extLst>
  </p:cSld>
  <p:clrMap bg1="lt1" tx1="dk1" bg2="lt2" tx2="dk2" accent1="accent1" accent2="accent2" accent3="accent3" accent4="accent4" accent5="accent5" accent6="accent6" hlink="hlink" folHlink="folHlink"/>
  <p:sldLayoutIdLst>
    <p:sldLayoutId id="2147483742" r:id="rId1"/>
    <p:sldLayoutId id="2147483776" r:id="rId2"/>
    <p:sldLayoutId id="2147483743" r:id="rId3"/>
    <p:sldLayoutId id="2147483744" r:id="rId4"/>
    <p:sldLayoutId id="2147483745" r:id="rId5"/>
    <p:sldLayoutId id="2147483746" r:id="rId6"/>
    <p:sldLayoutId id="2147483760" r:id="rId7"/>
    <p:sldLayoutId id="2147483761" r:id="rId8"/>
    <p:sldLayoutId id="2147483747" r:id="rId9"/>
    <p:sldLayoutId id="2147483762" r:id="rId10"/>
    <p:sldLayoutId id="2147483748" r:id="rId11"/>
    <p:sldLayoutId id="2147483749" r:id="rId12"/>
    <p:sldLayoutId id="2147483750" r:id="rId13"/>
    <p:sldLayoutId id="2147483751" r:id="rId14"/>
    <p:sldLayoutId id="214748375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00D3F-4030-44B9-BD2F-D77FD5734BC5}"/>
              </a:ext>
            </a:extLst>
          </p:cNvPr>
          <p:cNvGraphicFramePr>
            <a:graphicFrameLocks noChangeAspect="1"/>
          </p:cNvGraphicFramePr>
          <p:nvPr userDrawn="1">
            <p:custDataLst>
              <p:tags r:id="rId7"/>
            </p:custDataLst>
            <p:extLst>
              <p:ext uri="{D42A27DB-BD31-4B8C-83A1-F6EECF244321}">
                <p14:modId xmlns:p14="http://schemas.microsoft.com/office/powerpoint/2010/main" val="2819484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1" imgH="423" progId="TCLayout.ActiveDocument.1">
                  <p:embed/>
                </p:oleObj>
              </mc:Choice>
              <mc:Fallback>
                <p:oleObj name="think-cell Slide" r:id="rId8" imgW="421" imgH="423" progId="TCLayout.ActiveDocument.1">
                  <p:embed/>
                  <p:pic>
                    <p:nvPicPr>
                      <p:cNvPr id="8" name="Object 7" hidden="1">
                        <a:extLst>
                          <a:ext uri="{FF2B5EF4-FFF2-40B4-BE49-F238E27FC236}">
                            <a16:creationId xmlns:a16="http://schemas.microsoft.com/office/drawing/2014/main" id="{2A800D3F-4030-44B9-BD2F-D77FD5734BC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C5990EDD-30EA-4267-9193-1C48345AE99B}"/>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mj-lt"/>
              </a:rPr>
              <a:t>Primary</a:t>
            </a:r>
          </a:p>
        </p:txBody>
      </p:sp>
      <p:sp>
        <p:nvSpPr>
          <p:cNvPr id="4" name="Oval 3">
            <a:extLst>
              <a:ext uri="{FF2B5EF4-FFF2-40B4-BE49-F238E27FC236}">
                <a16:creationId xmlns:a16="http://schemas.microsoft.com/office/drawing/2014/main" id="{6AF4AA1C-3CD2-4774-B5F3-6463D48FE733}"/>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mj-lt"/>
              </a:rPr>
              <a:t>Secondary 2</a:t>
            </a:r>
          </a:p>
        </p:txBody>
      </p:sp>
      <p:sp>
        <p:nvSpPr>
          <p:cNvPr id="5" name="Oval 4">
            <a:extLst>
              <a:ext uri="{FF2B5EF4-FFF2-40B4-BE49-F238E27FC236}">
                <a16:creationId xmlns:a16="http://schemas.microsoft.com/office/drawing/2014/main" id="{CE2C8281-63E9-404E-A480-D402A65662B1}"/>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Accent</a:t>
            </a:r>
          </a:p>
        </p:txBody>
      </p:sp>
      <p:sp>
        <p:nvSpPr>
          <p:cNvPr id="6" name="Oval 5">
            <a:extLst>
              <a:ext uri="{FF2B5EF4-FFF2-40B4-BE49-F238E27FC236}">
                <a16:creationId xmlns:a16="http://schemas.microsoft.com/office/drawing/2014/main" id="{87CE7720-B78E-466E-8A1B-148E3773873A}"/>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Highlight</a:t>
            </a:r>
          </a:p>
        </p:txBody>
      </p:sp>
      <p:sp>
        <p:nvSpPr>
          <p:cNvPr id="7" name="Oval 6">
            <a:extLst>
              <a:ext uri="{FF2B5EF4-FFF2-40B4-BE49-F238E27FC236}">
                <a16:creationId xmlns:a16="http://schemas.microsoft.com/office/drawing/2014/main" id="{D44FE5DB-E63E-44D4-AB8C-C2023649058F}"/>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
        <p:nvSpPr>
          <p:cNvPr id="2" name="TextBox 1">
            <a:extLst>
              <a:ext uri="{FF2B5EF4-FFF2-40B4-BE49-F238E27FC236}">
                <a16:creationId xmlns:a16="http://schemas.microsoft.com/office/drawing/2014/main" id="{24167E7F-8F38-4AF1-9EE5-358C7ACB9002}"/>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Tree>
    <p:extLst>
      <p:ext uri="{BB962C8B-B14F-4D97-AF65-F5344CB8AC3E}">
        <p14:creationId xmlns:p14="http://schemas.microsoft.com/office/powerpoint/2010/main" val="941058978"/>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8" r:id="rId4"/>
    <p:sldLayoutId id="2147483759"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F1C5E6-4281-42D2-ACE6-59D4CC768304}"/>
              </a:ext>
            </a:extLst>
          </p:cNvPr>
          <p:cNvGraphicFramePr>
            <a:graphicFrameLocks noChangeAspect="1"/>
          </p:cNvGraphicFramePr>
          <p:nvPr userDrawn="1">
            <p:custDataLst>
              <p:tags r:id="rId5"/>
            </p:custDataLst>
            <p:extLst>
              <p:ext uri="{D42A27DB-BD31-4B8C-83A1-F6EECF244321}">
                <p14:modId xmlns:p14="http://schemas.microsoft.com/office/powerpoint/2010/main" val="21276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id="{66F1C5E6-4281-42D2-ACE6-59D4CC7683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63EA8DF-2C05-489F-856D-624082904E56}"/>
              </a:ext>
            </a:extLst>
          </p:cNvPr>
          <p:cNvSpPr txBox="1"/>
          <p:nvPr>
            <p:extLst>
              <p:ext uri="{1162E1C5-73C7-4A58-AE30-91384D911F3F}">
                <p184:classification xmlns:p184="http://schemas.microsoft.com/office/powerpoint/2018/4/main" val="ftr"/>
              </p:ext>
            </p:extLst>
          </p:nvPr>
        </p:nvSpPr>
        <p:spPr>
          <a:xfrm>
            <a:off x="5444300" y="6705600"/>
            <a:ext cx="1147762" cy="152400"/>
          </a:xfrm>
          <a:prstGeom prst="rect">
            <a:avLst/>
          </a:prstGeom>
        </p:spPr>
        <p:txBody>
          <a:bodyPr horzOverflow="overflow" lIns="0" tIns="0" rIns="0" bIns="0">
            <a:spAutoFit/>
          </a:bodyPr>
          <a:lstStyle/>
          <a:p>
            <a:pPr algn="ctr" rtl="0"/>
            <a:r>
              <a:rPr lang="en-US" sz="1000" dirty="0">
                <a:solidFill>
                  <a:srgbClr val="000000"/>
                </a:solidFill>
                <a:latin typeface="Calibri" panose="020F0502020204030204" pitchFamily="34" charset="0"/>
                <a:cs typeface="Calibri" panose="020F0502020204030204" pitchFamily="34" charset="0"/>
              </a:rPr>
              <a:t>Schlumberger-Private</a:t>
            </a:r>
          </a:p>
        </p:txBody>
      </p:sp>
      <p:sp>
        <p:nvSpPr>
          <p:cNvPr id="3" name="Oval 2">
            <a:extLst>
              <a:ext uri="{FF2B5EF4-FFF2-40B4-BE49-F238E27FC236}">
                <a16:creationId xmlns:a16="http://schemas.microsoft.com/office/drawing/2014/main" id="{205B29A4-68A1-45A2-B3F9-B418132A7C6E}"/>
              </a:ext>
            </a:extLst>
          </p:cNvPr>
          <p:cNvSpPr/>
          <p:nvPr userDrawn="1"/>
        </p:nvSpPr>
        <p:spPr>
          <a:xfrm>
            <a:off x="12232944" y="0"/>
            <a:ext cx="1828800" cy="1828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200" b="1" dirty="0">
                <a:solidFill>
                  <a:schemeClr val="bg1"/>
                </a:solidFill>
                <a:latin typeface="+mj-lt"/>
              </a:rPr>
              <a:t>Primary</a:t>
            </a:r>
          </a:p>
        </p:txBody>
      </p:sp>
      <p:sp>
        <p:nvSpPr>
          <p:cNvPr id="4" name="Oval 3">
            <a:extLst>
              <a:ext uri="{FF2B5EF4-FFF2-40B4-BE49-F238E27FC236}">
                <a16:creationId xmlns:a16="http://schemas.microsoft.com/office/drawing/2014/main" id="{6B816D9F-FB39-46B8-80A5-35323DF8BC97}"/>
              </a:ext>
            </a:extLst>
          </p:cNvPr>
          <p:cNvSpPr/>
          <p:nvPr userDrawn="1"/>
        </p:nvSpPr>
        <p:spPr>
          <a:xfrm>
            <a:off x="13222752" y="1937499"/>
            <a:ext cx="905164" cy="905164"/>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solidFill>
                  <a:schemeClr val="tx1"/>
                </a:solidFill>
                <a:latin typeface="+mj-lt"/>
              </a:rPr>
              <a:t>Secondary 2</a:t>
            </a:r>
          </a:p>
        </p:txBody>
      </p:sp>
      <p:sp>
        <p:nvSpPr>
          <p:cNvPr id="5" name="Oval 4">
            <a:extLst>
              <a:ext uri="{FF2B5EF4-FFF2-40B4-BE49-F238E27FC236}">
                <a16:creationId xmlns:a16="http://schemas.microsoft.com/office/drawing/2014/main" id="{750916D0-39C8-455E-B0DF-78FDC1095373}"/>
              </a:ext>
            </a:extLst>
          </p:cNvPr>
          <p:cNvSpPr/>
          <p:nvPr userDrawn="1"/>
        </p:nvSpPr>
        <p:spPr>
          <a:xfrm>
            <a:off x="12245210" y="2983738"/>
            <a:ext cx="905164" cy="905164"/>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Accent</a:t>
            </a:r>
          </a:p>
        </p:txBody>
      </p:sp>
      <p:sp>
        <p:nvSpPr>
          <p:cNvPr id="6" name="Oval 5">
            <a:extLst>
              <a:ext uri="{FF2B5EF4-FFF2-40B4-BE49-F238E27FC236}">
                <a16:creationId xmlns:a16="http://schemas.microsoft.com/office/drawing/2014/main" id="{EDB6F9D1-A173-4C12-B193-54596607C3A1}"/>
              </a:ext>
            </a:extLst>
          </p:cNvPr>
          <p:cNvSpPr/>
          <p:nvPr userDrawn="1"/>
        </p:nvSpPr>
        <p:spPr>
          <a:xfrm>
            <a:off x="13222752" y="2951362"/>
            <a:ext cx="905164" cy="905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800" b="1" dirty="0">
                <a:solidFill>
                  <a:schemeClr val="tx1"/>
                </a:solidFill>
                <a:latin typeface="+mj-lt"/>
              </a:rPr>
              <a:t>Highlight</a:t>
            </a:r>
          </a:p>
        </p:txBody>
      </p:sp>
      <p:sp>
        <p:nvSpPr>
          <p:cNvPr id="7" name="Oval 6">
            <a:extLst>
              <a:ext uri="{FF2B5EF4-FFF2-40B4-BE49-F238E27FC236}">
                <a16:creationId xmlns:a16="http://schemas.microsoft.com/office/drawing/2014/main" id="{42E39113-5237-439E-B0D6-9DD0B7CE9CA5}"/>
              </a:ext>
            </a:extLst>
          </p:cNvPr>
          <p:cNvSpPr/>
          <p:nvPr userDrawn="1"/>
        </p:nvSpPr>
        <p:spPr>
          <a:xfrm>
            <a:off x="12245210" y="1953687"/>
            <a:ext cx="905164" cy="905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00" b="1" dirty="0"/>
              <a:t>Secondary 1</a:t>
            </a:r>
          </a:p>
        </p:txBody>
      </p:sp>
    </p:spTree>
    <p:extLst>
      <p:ext uri="{BB962C8B-B14F-4D97-AF65-F5344CB8AC3E}">
        <p14:creationId xmlns:p14="http://schemas.microsoft.com/office/powerpoint/2010/main" val="1820091125"/>
      </p:ext>
    </p:extLst>
  </p:cSld>
  <p:clrMap bg1="lt1" tx1="dk1" bg2="lt2" tx2="dk2" accent1="accent1" accent2="accent2" accent3="accent3" accent4="accent4" accent5="accent5" accent6="accent6" hlink="hlink" folHlink="folHlink"/>
  <p:sldLayoutIdLst>
    <p:sldLayoutId id="2147483775" r:id="rId1"/>
    <p:sldLayoutId id="2147483765" r:id="rId2"/>
    <p:sldLayoutId id="2147483766"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34.xml"/><Relationship Id="rId1" Type="http://schemas.openxmlformats.org/officeDocument/2006/relationships/tags" Target="../tags/tag54.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5.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3.xml"/><Relationship Id="rId7" Type="http://schemas.openxmlformats.org/officeDocument/2006/relationships/image" Target="../media/image11.png"/><Relationship Id="rId2" Type="http://schemas.openxmlformats.org/officeDocument/2006/relationships/slideLayout" Target="../slideLayouts/slideLayout23.xml"/><Relationship Id="rId1" Type="http://schemas.openxmlformats.org/officeDocument/2006/relationships/tags" Target="../tags/tag56.xml"/><Relationship Id="rId6" Type="http://schemas.openxmlformats.org/officeDocument/2006/relationships/hyperlink" Target="https://app.powerbi.com/groups/me/reports/1b270341-a71c-4aa7-940d-223a37a03905/ReportSection?bookmarkGuid=Bookmarkdbc71b727469ab904058" TargetMode="Externa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23.xml"/><Relationship Id="rId1" Type="http://schemas.openxmlformats.org/officeDocument/2006/relationships/tags" Target="../tags/tag5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6.png"/><Relationship Id="rId2" Type="http://schemas.openxmlformats.org/officeDocument/2006/relationships/slideLayout" Target="../slideLayouts/slideLayout23.xml"/><Relationship Id="rId1" Type="http://schemas.openxmlformats.org/officeDocument/2006/relationships/tags" Target="../tags/tag5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23.xml"/><Relationship Id="rId1" Type="http://schemas.openxmlformats.org/officeDocument/2006/relationships/tags" Target="../tags/tag59.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image" Target="../media/image11.png"/><Relationship Id="rId2" Type="http://schemas.openxmlformats.org/officeDocument/2006/relationships/slideLayout" Target="../slideLayouts/slideLayout23.xml"/><Relationship Id="rId1" Type="http://schemas.openxmlformats.org/officeDocument/2006/relationships/tags" Target="../tags/tag60.xml"/><Relationship Id="rId6" Type="http://schemas.openxmlformats.org/officeDocument/2006/relationships/hyperlink" Target="https://app.powerbi.com/groups/me/reports/1b270341-a71c-4aa7-940d-223a37a03905/ReportSection?bookmarkGuid=Bookmarkdbc71b727469ab904058" TargetMode="Externa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3.xml"/><Relationship Id="rId1" Type="http://schemas.openxmlformats.org/officeDocument/2006/relationships/tags" Target="../tags/tag6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6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7ED0C0-D474-4999-938B-CD764FECA60A}"/>
              </a:ext>
            </a:extLst>
          </p:cNvPr>
          <p:cNvGraphicFramePr>
            <a:graphicFrameLocks noChangeAspect="1"/>
          </p:cNvGraphicFramePr>
          <p:nvPr>
            <p:custDataLst>
              <p:tags r:id="rId1"/>
            </p:custDataLst>
            <p:extLst>
              <p:ext uri="{D42A27DB-BD31-4B8C-83A1-F6EECF244321}">
                <p14:modId xmlns:p14="http://schemas.microsoft.com/office/powerpoint/2010/main" val="215905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A47ED0C0-D474-4999-938B-CD764FECA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picture containing indoor, ceiling, person, yellow&#10;&#10;Description automatically generated">
            <a:extLst>
              <a:ext uri="{FF2B5EF4-FFF2-40B4-BE49-F238E27FC236}">
                <a16:creationId xmlns:a16="http://schemas.microsoft.com/office/drawing/2014/main" id="{DC4A93A9-572E-48AE-A755-0A753D515E64}"/>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24537" r="24537"/>
          <a:stretch>
            <a:fillRect/>
          </a:stretch>
        </p:blipFill>
        <p:spPr>
          <a:xfrm>
            <a:off x="6665197" y="-58749"/>
            <a:ext cx="5239455" cy="6858000"/>
          </a:xfrm>
        </p:spPr>
      </p:pic>
      <p:sp>
        <p:nvSpPr>
          <p:cNvPr id="10" name="Text Placeholder 3">
            <a:extLst>
              <a:ext uri="{FF2B5EF4-FFF2-40B4-BE49-F238E27FC236}">
                <a16:creationId xmlns:a16="http://schemas.microsoft.com/office/drawing/2014/main" id="{0975EA33-F044-4B64-887E-720C7E5ABEDA}"/>
              </a:ext>
            </a:extLst>
          </p:cNvPr>
          <p:cNvSpPr>
            <a:spLocks noGrp="1"/>
          </p:cNvSpPr>
          <p:nvPr>
            <p:ph type="body" sz="quarter" idx="11"/>
          </p:nvPr>
        </p:nvSpPr>
        <p:spPr>
          <a:xfrm>
            <a:off x="824180" y="1829358"/>
            <a:ext cx="4702625" cy="4232075"/>
          </a:xfrm>
        </p:spPr>
        <p:txBody>
          <a:bodyPr/>
          <a:lstStyle/>
          <a:p>
            <a:r>
              <a:rPr lang="en-US" sz="3600" b="1" dirty="0"/>
              <a:t>Customer Service Macro</a:t>
            </a:r>
          </a:p>
          <a:p>
            <a:r>
              <a:rPr lang="en-US" sz="3600" b="1" dirty="0"/>
              <a:t>Guide</a:t>
            </a:r>
          </a:p>
        </p:txBody>
      </p:sp>
      <p:sp>
        <p:nvSpPr>
          <p:cNvPr id="13" name="Rectangle 12">
            <a:extLst>
              <a:ext uri="{FF2B5EF4-FFF2-40B4-BE49-F238E27FC236}">
                <a16:creationId xmlns:a16="http://schemas.microsoft.com/office/drawing/2014/main" id="{8592DE82-C85A-4BB3-97DB-BCCC86BB74BA}"/>
              </a:ext>
            </a:extLst>
          </p:cNvPr>
          <p:cNvSpPr/>
          <p:nvPr/>
        </p:nvSpPr>
        <p:spPr>
          <a:xfrm>
            <a:off x="933253" y="3311502"/>
            <a:ext cx="810706" cy="117498"/>
          </a:xfrm>
          <a:prstGeom prst="rect">
            <a:avLst/>
          </a:prstGeom>
          <a:solidFill>
            <a:srgbClr val="6EDBA4"/>
          </a:solidFill>
          <a:ln>
            <a:solidFill>
              <a:srgbClr val="6EDB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BD3EA365-FDD1-4837-A7F1-9054D1536B32}"/>
              </a:ext>
            </a:extLst>
          </p:cNvPr>
          <p:cNvSpPr txBox="1"/>
          <p:nvPr/>
        </p:nvSpPr>
        <p:spPr>
          <a:xfrm>
            <a:off x="824181" y="4292703"/>
            <a:ext cx="2437494" cy="338554"/>
          </a:xfrm>
          <a:prstGeom prst="rect">
            <a:avLst/>
          </a:prstGeom>
          <a:noFill/>
        </p:spPr>
        <p:txBody>
          <a:bodyPr wrap="square">
            <a:spAutoFit/>
          </a:bodyPr>
          <a:lstStyle/>
          <a:p>
            <a:r>
              <a:rPr lang="en-US" sz="1600" dirty="0">
                <a:solidFill>
                  <a:schemeClr val="bg2">
                    <a:lumMod val="90000"/>
                  </a:schemeClr>
                </a:solidFill>
              </a:rPr>
              <a:t>Digital Cell Team: 09/01/2022</a:t>
            </a:r>
          </a:p>
        </p:txBody>
      </p:sp>
      <p:pic>
        <p:nvPicPr>
          <p:cNvPr id="1026" name="Imagen 11">
            <a:extLst>
              <a:ext uri="{FF2B5EF4-FFF2-40B4-BE49-F238E27FC236}">
                <a16:creationId xmlns:a16="http://schemas.microsoft.com/office/drawing/2014/main" id="{15437220-A878-43E7-B863-6A7209EE1E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4179" y="4692069"/>
            <a:ext cx="18669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1816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E88ED2-A91D-4088-AC55-9DFBD445D3FB}"/>
              </a:ext>
            </a:extLst>
          </p:cNvPr>
          <p:cNvGraphicFramePr>
            <a:graphicFrameLocks noChangeAspect="1"/>
          </p:cNvGraphicFramePr>
          <p:nvPr>
            <p:custDataLst>
              <p:tags r:id="rId1"/>
            </p:custDataLst>
            <p:extLst>
              <p:ext uri="{D42A27DB-BD31-4B8C-83A1-F6EECF244321}">
                <p14:modId xmlns:p14="http://schemas.microsoft.com/office/powerpoint/2010/main" val="2878696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6CE88ED2-A91D-4088-AC55-9DFBD445D3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D06EEA5-DE37-44A9-8FA9-CDD3C802D996}"/>
              </a:ext>
            </a:extLst>
          </p:cNvPr>
          <p:cNvSpPr>
            <a:spLocks noGrp="1"/>
          </p:cNvSpPr>
          <p:nvPr>
            <p:ph type="body" sz="quarter" idx="11"/>
          </p:nvPr>
        </p:nvSpPr>
        <p:spPr>
          <a:xfrm>
            <a:off x="6989563" y="256064"/>
            <a:ext cx="4702625" cy="640490"/>
          </a:xfrm>
        </p:spPr>
        <p:txBody>
          <a:bodyPr/>
          <a:lstStyle/>
          <a:p>
            <a:pPr algn="ctr"/>
            <a:r>
              <a:rPr lang="en-US" dirty="0"/>
              <a:t>Summary</a:t>
            </a:r>
          </a:p>
        </p:txBody>
      </p:sp>
      <p:pic>
        <p:nvPicPr>
          <p:cNvPr id="12" name="Picture Placeholder 11">
            <a:extLst>
              <a:ext uri="{FF2B5EF4-FFF2-40B4-BE49-F238E27FC236}">
                <a16:creationId xmlns:a16="http://schemas.microsoft.com/office/drawing/2014/main" id="{6B67E9ED-1EF7-461F-BB68-8EF6C0DEDBEE}"/>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6648" r="16648"/>
          <a:stretch>
            <a:fillRect/>
          </a:stretch>
        </p:blipFill>
        <p:spPr/>
      </p:pic>
      <p:sp>
        <p:nvSpPr>
          <p:cNvPr id="11" name="Text Placeholder 1">
            <a:extLst>
              <a:ext uri="{FF2B5EF4-FFF2-40B4-BE49-F238E27FC236}">
                <a16:creationId xmlns:a16="http://schemas.microsoft.com/office/drawing/2014/main" id="{26517BED-F2B2-4B7E-B542-C98D2F766B72}"/>
              </a:ext>
            </a:extLst>
          </p:cNvPr>
          <p:cNvSpPr txBox="1">
            <a:spLocks/>
          </p:cNvSpPr>
          <p:nvPr/>
        </p:nvSpPr>
        <p:spPr>
          <a:xfrm>
            <a:off x="6989562" y="2216562"/>
            <a:ext cx="4702626" cy="3776734"/>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AutoNum type="arabicPeriod"/>
            </a:pPr>
            <a:r>
              <a:rPr lang="en-US" sz="2800" b="0" dirty="0">
                <a:solidFill>
                  <a:schemeClr val="tx1"/>
                </a:solidFill>
              </a:rPr>
              <a:t>Notification Phase</a:t>
            </a:r>
          </a:p>
          <a:p>
            <a:pPr marL="514350" indent="-514350">
              <a:buAutoNum type="arabicPeriod"/>
            </a:pPr>
            <a:endParaRPr lang="en-US" sz="2800" b="0" dirty="0">
              <a:solidFill>
                <a:schemeClr val="tx1"/>
              </a:solidFill>
            </a:endParaRPr>
          </a:p>
          <a:p>
            <a:pPr marL="514350" indent="-514350">
              <a:buAutoNum type="arabicPeriod"/>
            </a:pPr>
            <a:endParaRPr lang="en-US" sz="2800" b="0" dirty="0">
              <a:solidFill>
                <a:schemeClr val="tx1"/>
              </a:solidFill>
            </a:endParaRPr>
          </a:p>
          <a:p>
            <a:pPr marL="514350" indent="-514350">
              <a:buAutoNum type="arabicPeriod"/>
            </a:pPr>
            <a:r>
              <a:rPr lang="en-US" sz="2800" b="0" dirty="0">
                <a:solidFill>
                  <a:schemeClr val="tx1"/>
                </a:solidFill>
              </a:rPr>
              <a:t>Consolidation Phase</a:t>
            </a:r>
          </a:p>
        </p:txBody>
      </p:sp>
    </p:spTree>
    <p:extLst>
      <p:ext uri="{BB962C8B-B14F-4D97-AF65-F5344CB8AC3E}">
        <p14:creationId xmlns:p14="http://schemas.microsoft.com/office/powerpoint/2010/main" val="35859691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410160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546108"/>
            <a:ext cx="8978629" cy="663259"/>
          </a:xfrm>
        </p:spPr>
        <p:txBody>
          <a:bodyPr/>
          <a:lstStyle/>
          <a:p>
            <a:r>
              <a:rPr lang="en-US" dirty="0"/>
              <a:t>1.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309055"/>
            <a:ext cx="5741095"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1: </a:t>
            </a:r>
            <a:r>
              <a:rPr lang="en-US" sz="2800" b="0" dirty="0">
                <a:solidFill>
                  <a:schemeClr val="tx1"/>
                </a:solidFill>
              </a:rPr>
              <a:t>Open the file, in case you get the Security Notice pop up make sure to select the </a:t>
            </a:r>
            <a:r>
              <a:rPr lang="en-US" sz="2800" b="0" u="sng" dirty="0">
                <a:solidFill>
                  <a:schemeClr val="tx1"/>
                </a:solidFill>
              </a:rPr>
              <a:t>Enable Macros</a:t>
            </a:r>
            <a:r>
              <a:rPr lang="en-US" sz="2800" b="0" dirty="0">
                <a:solidFill>
                  <a:schemeClr val="tx1"/>
                </a:solidFill>
              </a:rPr>
              <a:t> option.</a:t>
            </a:r>
            <a:endParaRPr lang="en-US" sz="2800" dirty="0">
              <a:solidFill>
                <a:schemeClr val="tx1"/>
              </a:solidFill>
            </a:endParaRPr>
          </a:p>
        </p:txBody>
      </p:sp>
      <p:sp>
        <p:nvSpPr>
          <p:cNvPr id="15" name="Text Placeholder 1">
            <a:extLst>
              <a:ext uri="{FF2B5EF4-FFF2-40B4-BE49-F238E27FC236}">
                <a16:creationId xmlns:a16="http://schemas.microsoft.com/office/drawing/2014/main" id="{CE24284A-B6C5-4B7D-B962-43794F8876BE}"/>
              </a:ext>
            </a:extLst>
          </p:cNvPr>
          <p:cNvSpPr txBox="1">
            <a:spLocks/>
          </p:cNvSpPr>
          <p:nvPr/>
        </p:nvSpPr>
        <p:spPr>
          <a:xfrm>
            <a:off x="5932537" y="4474357"/>
            <a:ext cx="5868035"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2: </a:t>
            </a:r>
            <a:r>
              <a:rPr lang="en-US" sz="2800" b="0" dirty="0">
                <a:solidFill>
                  <a:schemeClr val="tx1"/>
                </a:solidFill>
              </a:rPr>
              <a:t>Browse the </a:t>
            </a:r>
            <a:r>
              <a:rPr lang="en-US" sz="2800" b="0" dirty="0">
                <a:solidFill>
                  <a:schemeClr val="tx1"/>
                </a:solidFill>
                <a:hlinkClick r:id="rId6"/>
              </a:rPr>
              <a:t>CS Proactive PO Management</a:t>
            </a:r>
            <a:r>
              <a:rPr lang="en-US" sz="2800" b="0" dirty="0">
                <a:solidFill>
                  <a:schemeClr val="tx1"/>
                </a:solidFill>
              </a:rPr>
              <a:t> and export as summarized data the report on the Follow-up View.</a:t>
            </a:r>
            <a:endParaRPr lang="en-US" sz="2800" dirty="0">
              <a:solidFill>
                <a:schemeClr val="tx1"/>
              </a:solidFill>
            </a:endParaRPr>
          </a:p>
        </p:txBody>
      </p:sp>
      <p:pic>
        <p:nvPicPr>
          <p:cNvPr id="1026" name="Picture 2" descr="Pesky Old-Style Macro Popups — Advanced Maldoc Techniques | by Carrie  Roberts | Walmart Global Tech Blog | Medium">
            <a:extLst>
              <a:ext uri="{FF2B5EF4-FFF2-40B4-BE49-F238E27FC236}">
                <a16:creationId xmlns:a16="http://schemas.microsoft.com/office/drawing/2014/main" id="{D2F81808-1A19-43DA-AF28-DB8880387AD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242" t="7507" r="7539" b="6890"/>
          <a:stretch/>
        </p:blipFill>
        <p:spPr bwMode="auto">
          <a:xfrm>
            <a:off x="6599581" y="1382664"/>
            <a:ext cx="4253949" cy="259561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C3817D5B-1AF9-4157-83E9-F32F433F749A}"/>
              </a:ext>
            </a:extLst>
          </p:cNvPr>
          <p:cNvSpPr/>
          <p:nvPr/>
        </p:nvSpPr>
        <p:spPr>
          <a:xfrm>
            <a:off x="8507187" y="3709675"/>
            <a:ext cx="874303" cy="205100"/>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BBE4820E-A006-423D-9FAA-3968F06A7CB2}"/>
              </a:ext>
            </a:extLst>
          </p:cNvPr>
          <p:cNvPicPr>
            <a:picLocks noChangeAspect="1"/>
          </p:cNvPicPr>
          <p:nvPr/>
        </p:nvPicPr>
        <p:blipFill>
          <a:blip r:embed="rId8"/>
          <a:stretch>
            <a:fillRect/>
          </a:stretch>
        </p:blipFill>
        <p:spPr>
          <a:xfrm>
            <a:off x="524949" y="3638970"/>
            <a:ext cx="5321505" cy="23960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2" name="Rectangle: Rounded Corners 11">
            <a:extLst>
              <a:ext uri="{FF2B5EF4-FFF2-40B4-BE49-F238E27FC236}">
                <a16:creationId xmlns:a16="http://schemas.microsoft.com/office/drawing/2014/main" id="{E4788CB1-4E24-4C03-BEDF-7235D643ADB6}"/>
              </a:ext>
            </a:extLst>
          </p:cNvPr>
          <p:cNvSpPr/>
          <p:nvPr/>
        </p:nvSpPr>
        <p:spPr>
          <a:xfrm>
            <a:off x="5060949" y="4994679"/>
            <a:ext cx="650875" cy="113895"/>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Rounded Corners 12">
            <a:extLst>
              <a:ext uri="{FF2B5EF4-FFF2-40B4-BE49-F238E27FC236}">
                <a16:creationId xmlns:a16="http://schemas.microsoft.com/office/drawing/2014/main" id="{1797B81D-F96F-4B50-A0D6-1490A595FAF0}"/>
              </a:ext>
            </a:extLst>
          </p:cNvPr>
          <p:cNvSpPr/>
          <p:nvPr/>
        </p:nvSpPr>
        <p:spPr>
          <a:xfrm>
            <a:off x="5266983" y="3722931"/>
            <a:ext cx="530568" cy="144220"/>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51812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315156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486474"/>
            <a:ext cx="8978629" cy="663259"/>
          </a:xfrm>
        </p:spPr>
        <p:txBody>
          <a:bodyPr/>
          <a:lstStyle/>
          <a:p>
            <a:r>
              <a:rPr lang="en-US" dirty="0"/>
              <a:t>1.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150031"/>
            <a:ext cx="10101341"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3: </a:t>
            </a:r>
            <a:r>
              <a:rPr lang="en-US" sz="2600" b="0" dirty="0">
                <a:solidFill>
                  <a:schemeClr val="tx1"/>
                </a:solidFill>
              </a:rPr>
              <a:t>Copy the data downloaded to the “Data” tab in the macro and keep just the lines you want to send. Make sure the headers are copied in the first row.</a:t>
            </a:r>
          </a:p>
        </p:txBody>
      </p:sp>
      <p:sp>
        <p:nvSpPr>
          <p:cNvPr id="12" name="Text Placeholder 1">
            <a:extLst>
              <a:ext uri="{FF2B5EF4-FFF2-40B4-BE49-F238E27FC236}">
                <a16:creationId xmlns:a16="http://schemas.microsoft.com/office/drawing/2014/main" id="{1CBA2BFC-C384-4131-A78D-69F5971FE4C4}"/>
              </a:ext>
            </a:extLst>
          </p:cNvPr>
          <p:cNvSpPr txBox="1">
            <a:spLocks/>
          </p:cNvSpPr>
          <p:nvPr/>
        </p:nvSpPr>
        <p:spPr>
          <a:xfrm>
            <a:off x="480247" y="4192298"/>
            <a:ext cx="10959694"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4: </a:t>
            </a:r>
            <a:r>
              <a:rPr lang="en-US" sz="2600" b="0" dirty="0">
                <a:solidFill>
                  <a:schemeClr val="tx1"/>
                </a:solidFill>
              </a:rPr>
              <a:t>Select either if you want to review every email to the suppliers before sending them or if you want to send them automatically.</a:t>
            </a:r>
          </a:p>
        </p:txBody>
      </p:sp>
      <p:pic>
        <p:nvPicPr>
          <p:cNvPr id="6" name="Picture 5">
            <a:extLst>
              <a:ext uri="{FF2B5EF4-FFF2-40B4-BE49-F238E27FC236}">
                <a16:creationId xmlns:a16="http://schemas.microsoft.com/office/drawing/2014/main" id="{E05C968A-0A3E-417E-AEAE-E1BCFCA557E7}"/>
              </a:ext>
            </a:extLst>
          </p:cNvPr>
          <p:cNvPicPr>
            <a:picLocks noChangeAspect="1"/>
          </p:cNvPicPr>
          <p:nvPr/>
        </p:nvPicPr>
        <p:blipFill>
          <a:blip r:embed="rId6"/>
          <a:stretch>
            <a:fillRect/>
          </a:stretch>
        </p:blipFill>
        <p:spPr>
          <a:xfrm>
            <a:off x="6988883" y="2016190"/>
            <a:ext cx="3965607" cy="182031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ectangle: Rounded Corners 9">
            <a:extLst>
              <a:ext uri="{FF2B5EF4-FFF2-40B4-BE49-F238E27FC236}">
                <a16:creationId xmlns:a16="http://schemas.microsoft.com/office/drawing/2014/main" id="{22646D52-CF93-4B5E-97E0-CFE1A1BDEFF0}"/>
              </a:ext>
            </a:extLst>
          </p:cNvPr>
          <p:cNvSpPr/>
          <p:nvPr/>
        </p:nvSpPr>
        <p:spPr>
          <a:xfrm>
            <a:off x="7862769" y="3698809"/>
            <a:ext cx="224297" cy="9939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AB72E81C-B5D3-46D5-907A-639CBC44BDD0}"/>
              </a:ext>
            </a:extLst>
          </p:cNvPr>
          <p:cNvPicPr>
            <a:picLocks noChangeAspect="1"/>
          </p:cNvPicPr>
          <p:nvPr/>
        </p:nvPicPr>
        <p:blipFill>
          <a:blip r:embed="rId7"/>
          <a:stretch>
            <a:fillRect/>
          </a:stretch>
        </p:blipFill>
        <p:spPr>
          <a:xfrm>
            <a:off x="7110583" y="4612680"/>
            <a:ext cx="4252356" cy="15573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4" name="Text Placeholder 1">
            <a:extLst>
              <a:ext uri="{FF2B5EF4-FFF2-40B4-BE49-F238E27FC236}">
                <a16:creationId xmlns:a16="http://schemas.microsoft.com/office/drawing/2014/main" id="{BE64238A-2901-434A-B671-74A74FD894AF}"/>
              </a:ext>
            </a:extLst>
          </p:cNvPr>
          <p:cNvSpPr txBox="1">
            <a:spLocks/>
          </p:cNvSpPr>
          <p:nvPr/>
        </p:nvSpPr>
        <p:spPr>
          <a:xfrm>
            <a:off x="3930745" y="5749123"/>
            <a:ext cx="3179838"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dirty="0">
                <a:solidFill>
                  <a:schemeClr val="tx1"/>
                </a:solidFill>
              </a:rPr>
              <a:t>Note: </a:t>
            </a:r>
            <a:r>
              <a:rPr lang="en-US" sz="1400" b="0" dirty="0">
                <a:solidFill>
                  <a:schemeClr val="tx1"/>
                </a:solidFill>
              </a:rPr>
              <a:t>In case you select Yes, all the emails will show up as in the image before sending</a:t>
            </a:r>
          </a:p>
        </p:txBody>
      </p:sp>
    </p:spTree>
    <p:extLst>
      <p:ext uri="{BB962C8B-B14F-4D97-AF65-F5344CB8AC3E}">
        <p14:creationId xmlns:p14="http://schemas.microsoft.com/office/powerpoint/2010/main" val="2641930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98863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546108"/>
            <a:ext cx="8978629" cy="663259"/>
          </a:xfrm>
        </p:spPr>
        <p:txBody>
          <a:bodyPr/>
          <a:lstStyle/>
          <a:p>
            <a:r>
              <a:rPr lang="en-US" dirty="0"/>
              <a:t>1.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34575" y="1299429"/>
            <a:ext cx="9841458" cy="4100344"/>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en-US" sz="2800" dirty="0">
                <a:solidFill>
                  <a:schemeClr val="tx1"/>
                </a:solidFill>
              </a:rPr>
              <a:t>Step 5: </a:t>
            </a:r>
            <a:r>
              <a:rPr lang="en-US" sz="2800" b="0" dirty="0">
                <a:solidFill>
                  <a:schemeClr val="tx1"/>
                </a:solidFill>
              </a:rPr>
              <a:t>Run the macro with one of the following options:</a:t>
            </a:r>
          </a:p>
          <a:p>
            <a:pPr marL="1143000" lvl="1" indent="-457200"/>
            <a:r>
              <a:rPr lang="en-US" sz="1600" dirty="0"/>
              <a:t>A) Two steps:</a:t>
            </a:r>
          </a:p>
          <a:p>
            <a:pPr lvl="2" indent="0">
              <a:buNone/>
            </a:pPr>
            <a:r>
              <a:rPr lang="en-US" sz="1200" dirty="0"/>
              <a:t>	1. Click the Organize Data button and review the format on the “Result tab”</a:t>
            </a:r>
          </a:p>
          <a:p>
            <a:pPr lvl="2" indent="0">
              <a:buNone/>
            </a:pPr>
            <a:r>
              <a:rPr lang="en-US" sz="1200" b="0" dirty="0">
                <a:solidFill>
                  <a:schemeClr val="tx1"/>
                </a:solidFill>
              </a:rPr>
              <a:t>	</a:t>
            </a:r>
            <a:r>
              <a:rPr lang="en-US" sz="1200" dirty="0"/>
              <a:t>2. After reviewing the data send the email by clicking the second button.</a:t>
            </a:r>
          </a:p>
          <a:p>
            <a:pPr lvl="2" indent="0">
              <a:buNone/>
            </a:pPr>
            <a:endParaRPr lang="en-US" sz="1200" b="0" dirty="0">
              <a:solidFill>
                <a:schemeClr val="tx1"/>
              </a:solidFill>
            </a:endParaRPr>
          </a:p>
          <a:p>
            <a:pPr lvl="2" indent="0">
              <a:buNone/>
            </a:pPr>
            <a:endParaRPr lang="en-US" sz="1200" b="0" dirty="0">
              <a:solidFill>
                <a:schemeClr val="tx1"/>
              </a:solidFill>
            </a:endParaRPr>
          </a:p>
          <a:p>
            <a:pPr lvl="2" indent="0">
              <a:buNone/>
            </a:pPr>
            <a:endParaRPr lang="en-US" sz="1200" b="0" dirty="0">
              <a:solidFill>
                <a:schemeClr val="tx1"/>
              </a:solidFill>
            </a:endParaRPr>
          </a:p>
          <a:p>
            <a:pPr marL="1143000" lvl="1" indent="-457200"/>
            <a:r>
              <a:rPr lang="en-US" sz="1600" dirty="0"/>
              <a:t>B) One step:</a:t>
            </a:r>
          </a:p>
          <a:p>
            <a:pPr lvl="2" indent="0">
              <a:buNone/>
            </a:pPr>
            <a:r>
              <a:rPr lang="en-US" sz="1200" dirty="0"/>
              <a:t>	1. Click the Sending Emails button to automatically mail to the suppliers</a:t>
            </a:r>
          </a:p>
        </p:txBody>
      </p:sp>
      <p:sp>
        <p:nvSpPr>
          <p:cNvPr id="10" name="Text Placeholder 1">
            <a:extLst>
              <a:ext uri="{FF2B5EF4-FFF2-40B4-BE49-F238E27FC236}">
                <a16:creationId xmlns:a16="http://schemas.microsoft.com/office/drawing/2014/main" id="{59AD6ED3-311C-444F-92E2-FDEEA217015A}"/>
              </a:ext>
            </a:extLst>
          </p:cNvPr>
          <p:cNvSpPr txBox="1">
            <a:spLocks/>
          </p:cNvSpPr>
          <p:nvPr/>
        </p:nvSpPr>
        <p:spPr>
          <a:xfrm>
            <a:off x="5098109" y="5437137"/>
            <a:ext cx="2835158"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dirty="0">
                <a:solidFill>
                  <a:schemeClr val="tx1"/>
                </a:solidFill>
              </a:rPr>
              <a:t>Note: </a:t>
            </a:r>
            <a:r>
              <a:rPr lang="en-US" sz="1400" b="0" dirty="0">
                <a:solidFill>
                  <a:schemeClr val="tx1"/>
                </a:solidFill>
              </a:rPr>
              <a:t>Before running the macro make sure to have all the supplier contacts on the “</a:t>
            </a:r>
            <a:r>
              <a:rPr lang="en-US" sz="1400" b="0" dirty="0" err="1">
                <a:solidFill>
                  <a:schemeClr val="tx1"/>
                </a:solidFill>
              </a:rPr>
              <a:t>AssignationList</a:t>
            </a:r>
            <a:r>
              <a:rPr lang="en-US" sz="1400" b="0" dirty="0">
                <a:solidFill>
                  <a:schemeClr val="tx1"/>
                </a:solidFill>
              </a:rPr>
              <a:t>” tab </a:t>
            </a:r>
          </a:p>
        </p:txBody>
      </p:sp>
      <p:pic>
        <p:nvPicPr>
          <p:cNvPr id="9" name="Picture 8">
            <a:extLst>
              <a:ext uri="{FF2B5EF4-FFF2-40B4-BE49-F238E27FC236}">
                <a16:creationId xmlns:a16="http://schemas.microsoft.com/office/drawing/2014/main" id="{8CFEA338-324E-4F41-A1D5-A0118563154A}"/>
              </a:ext>
            </a:extLst>
          </p:cNvPr>
          <p:cNvPicPr>
            <a:picLocks noChangeAspect="1"/>
          </p:cNvPicPr>
          <p:nvPr/>
        </p:nvPicPr>
        <p:blipFill>
          <a:blip r:embed="rId6"/>
          <a:stretch>
            <a:fillRect/>
          </a:stretch>
        </p:blipFill>
        <p:spPr>
          <a:xfrm>
            <a:off x="7856438" y="1806350"/>
            <a:ext cx="2914650" cy="23421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CD37F635-2B75-49E0-AD90-DBC93C2F7BE9}"/>
              </a:ext>
            </a:extLst>
          </p:cNvPr>
          <p:cNvPicPr>
            <a:picLocks noChangeAspect="1"/>
          </p:cNvPicPr>
          <p:nvPr/>
        </p:nvPicPr>
        <p:blipFill>
          <a:blip r:embed="rId7"/>
          <a:stretch>
            <a:fillRect/>
          </a:stretch>
        </p:blipFill>
        <p:spPr>
          <a:xfrm>
            <a:off x="8111496" y="4539832"/>
            <a:ext cx="2404533" cy="154543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6" name="Rectangle: Rounded Corners 15">
            <a:extLst>
              <a:ext uri="{FF2B5EF4-FFF2-40B4-BE49-F238E27FC236}">
                <a16:creationId xmlns:a16="http://schemas.microsoft.com/office/drawing/2014/main" id="{0C5C5694-F57B-498B-8878-4F2895EA517A}"/>
              </a:ext>
            </a:extLst>
          </p:cNvPr>
          <p:cNvSpPr/>
          <p:nvPr/>
        </p:nvSpPr>
        <p:spPr>
          <a:xfrm>
            <a:off x="9189105" y="5986181"/>
            <a:ext cx="472501" cy="7846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01873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1256229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546108"/>
            <a:ext cx="8978629" cy="663259"/>
          </a:xfrm>
        </p:spPr>
        <p:txBody>
          <a:bodyPr/>
          <a:lstStyle/>
          <a:p>
            <a:r>
              <a:rPr lang="en-US" dirty="0"/>
              <a:t>2. Consolid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309055"/>
            <a:ext cx="6462259" cy="223883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1: </a:t>
            </a:r>
            <a:r>
              <a:rPr lang="en-US" sz="2800" b="0" dirty="0">
                <a:solidFill>
                  <a:schemeClr val="tx1"/>
                </a:solidFill>
              </a:rPr>
              <a:t>On your email create two folders inside the Inbox with the following names:</a:t>
            </a:r>
            <a:endParaRPr lang="en-US" sz="400" b="0" dirty="0">
              <a:solidFill>
                <a:schemeClr val="tx1"/>
              </a:solidFill>
            </a:endParaRPr>
          </a:p>
          <a:p>
            <a:pPr marL="1143000" lvl="1" indent="-457200" algn="just"/>
            <a:r>
              <a:rPr lang="en-US" sz="1800" dirty="0"/>
              <a:t>A) CS_Ans: This folder will contain all the new answers that needs to be consolidated.</a:t>
            </a:r>
          </a:p>
          <a:p>
            <a:pPr marL="1143000" lvl="1" indent="-457200" algn="just"/>
            <a:r>
              <a:rPr lang="en-US" sz="1800" b="0" dirty="0">
                <a:solidFill>
                  <a:schemeClr val="tx1"/>
                </a:solidFill>
              </a:rPr>
              <a:t>B) CS</a:t>
            </a:r>
            <a:r>
              <a:rPr lang="en-US" sz="1800" dirty="0"/>
              <a:t>_Read: This folder will contain all the supplier answers that were previously consolidated.</a:t>
            </a:r>
          </a:p>
        </p:txBody>
      </p:sp>
      <p:sp>
        <p:nvSpPr>
          <p:cNvPr id="15" name="Text Placeholder 1">
            <a:extLst>
              <a:ext uri="{FF2B5EF4-FFF2-40B4-BE49-F238E27FC236}">
                <a16:creationId xmlns:a16="http://schemas.microsoft.com/office/drawing/2014/main" id="{CE24284A-B6C5-4B7D-B962-43794F8876BE}"/>
              </a:ext>
            </a:extLst>
          </p:cNvPr>
          <p:cNvSpPr txBox="1">
            <a:spLocks/>
          </p:cNvSpPr>
          <p:nvPr/>
        </p:nvSpPr>
        <p:spPr>
          <a:xfrm>
            <a:off x="5932537" y="4156308"/>
            <a:ext cx="5868035" cy="2091855"/>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2: </a:t>
            </a:r>
            <a:r>
              <a:rPr lang="en-US" sz="2800" b="0" dirty="0">
                <a:solidFill>
                  <a:schemeClr val="tx1"/>
                </a:solidFill>
              </a:rPr>
              <a:t>Create a rule on outlook to save automatically the emails on the corresponding folder as is shown in the image at the left. You may need to click on the advance options.</a:t>
            </a:r>
            <a:endParaRPr lang="en-US" sz="2800" dirty="0">
              <a:solidFill>
                <a:schemeClr val="tx1"/>
              </a:solidFill>
            </a:endParaRPr>
          </a:p>
        </p:txBody>
      </p:sp>
      <p:pic>
        <p:nvPicPr>
          <p:cNvPr id="6" name="Picture 5">
            <a:extLst>
              <a:ext uri="{FF2B5EF4-FFF2-40B4-BE49-F238E27FC236}">
                <a16:creationId xmlns:a16="http://schemas.microsoft.com/office/drawing/2014/main" id="{5CA3914C-1695-46C6-B4B0-EB8CE9D3AEEA}"/>
              </a:ext>
            </a:extLst>
          </p:cNvPr>
          <p:cNvPicPr>
            <a:picLocks noChangeAspect="1"/>
          </p:cNvPicPr>
          <p:nvPr/>
        </p:nvPicPr>
        <p:blipFill>
          <a:blip r:embed="rId6"/>
          <a:stretch>
            <a:fillRect/>
          </a:stretch>
        </p:blipFill>
        <p:spPr>
          <a:xfrm>
            <a:off x="8089443" y="1453547"/>
            <a:ext cx="1849687" cy="221301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3" name="Rectangle: Rounded Corners 12">
            <a:extLst>
              <a:ext uri="{FF2B5EF4-FFF2-40B4-BE49-F238E27FC236}">
                <a16:creationId xmlns:a16="http://schemas.microsoft.com/office/drawing/2014/main" id="{1797B81D-F96F-4B50-A0D6-1490A595FAF0}"/>
              </a:ext>
            </a:extLst>
          </p:cNvPr>
          <p:cNvSpPr/>
          <p:nvPr/>
        </p:nvSpPr>
        <p:spPr>
          <a:xfrm>
            <a:off x="8277465" y="3273598"/>
            <a:ext cx="530568" cy="333201"/>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90DF8E8D-378F-4926-8E7B-5A3736A9B2FA}"/>
              </a:ext>
            </a:extLst>
          </p:cNvPr>
          <p:cNvPicPr>
            <a:picLocks noChangeAspect="1"/>
          </p:cNvPicPr>
          <p:nvPr/>
        </p:nvPicPr>
        <p:blipFill>
          <a:blip r:embed="rId7"/>
          <a:stretch>
            <a:fillRect/>
          </a:stretch>
        </p:blipFill>
        <p:spPr>
          <a:xfrm>
            <a:off x="1082416" y="3907427"/>
            <a:ext cx="4095750" cy="1981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7" name="Text Placeholder 1">
            <a:extLst>
              <a:ext uri="{FF2B5EF4-FFF2-40B4-BE49-F238E27FC236}">
                <a16:creationId xmlns:a16="http://schemas.microsoft.com/office/drawing/2014/main" id="{8C7AA737-55FF-4A52-B018-91998A1A21BF}"/>
              </a:ext>
            </a:extLst>
          </p:cNvPr>
          <p:cNvSpPr txBox="1">
            <a:spLocks/>
          </p:cNvSpPr>
          <p:nvPr/>
        </p:nvSpPr>
        <p:spPr>
          <a:xfrm>
            <a:off x="873633" y="6016284"/>
            <a:ext cx="3850768" cy="23187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dirty="0">
                <a:solidFill>
                  <a:schemeClr val="tx1"/>
                </a:solidFill>
              </a:rPr>
              <a:t>*Note: </a:t>
            </a:r>
            <a:r>
              <a:rPr lang="en-US" sz="1400" b="0" dirty="0">
                <a:solidFill>
                  <a:schemeClr val="tx1"/>
                </a:solidFill>
              </a:rPr>
              <a:t>Step 1 and 2 needs to be done just the first time</a:t>
            </a:r>
          </a:p>
        </p:txBody>
      </p:sp>
    </p:spTree>
    <p:extLst>
      <p:ext uri="{BB962C8B-B14F-4D97-AF65-F5344CB8AC3E}">
        <p14:creationId xmlns:p14="http://schemas.microsoft.com/office/powerpoint/2010/main" val="4099604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546108"/>
            <a:ext cx="8978629" cy="663259"/>
          </a:xfrm>
        </p:spPr>
        <p:txBody>
          <a:bodyPr/>
          <a:lstStyle/>
          <a:p>
            <a:r>
              <a:rPr lang="en-US" dirty="0"/>
              <a:t>2. Consolid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309055"/>
            <a:ext cx="5741095"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3: </a:t>
            </a:r>
            <a:r>
              <a:rPr lang="en-US" sz="2800" b="0" dirty="0">
                <a:solidFill>
                  <a:schemeClr val="tx1"/>
                </a:solidFill>
              </a:rPr>
              <a:t>Open the file, in case you get the Security Notice pop up make sure to select the </a:t>
            </a:r>
            <a:r>
              <a:rPr lang="en-US" sz="2800" b="0" u="sng" dirty="0">
                <a:solidFill>
                  <a:schemeClr val="tx1"/>
                </a:solidFill>
              </a:rPr>
              <a:t>Enable Macros</a:t>
            </a:r>
            <a:r>
              <a:rPr lang="en-US" sz="2800" b="0" dirty="0">
                <a:solidFill>
                  <a:schemeClr val="tx1"/>
                </a:solidFill>
              </a:rPr>
              <a:t> option.</a:t>
            </a:r>
            <a:endParaRPr lang="en-US" sz="2800" dirty="0">
              <a:solidFill>
                <a:schemeClr val="tx1"/>
              </a:solidFill>
            </a:endParaRPr>
          </a:p>
        </p:txBody>
      </p:sp>
      <p:sp>
        <p:nvSpPr>
          <p:cNvPr id="15" name="Text Placeholder 1">
            <a:extLst>
              <a:ext uri="{FF2B5EF4-FFF2-40B4-BE49-F238E27FC236}">
                <a16:creationId xmlns:a16="http://schemas.microsoft.com/office/drawing/2014/main" id="{CE24284A-B6C5-4B7D-B962-43794F8876BE}"/>
              </a:ext>
            </a:extLst>
          </p:cNvPr>
          <p:cNvSpPr txBox="1">
            <a:spLocks/>
          </p:cNvSpPr>
          <p:nvPr/>
        </p:nvSpPr>
        <p:spPr>
          <a:xfrm>
            <a:off x="5932537" y="4474357"/>
            <a:ext cx="5868035"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800" dirty="0">
                <a:solidFill>
                  <a:schemeClr val="tx1"/>
                </a:solidFill>
              </a:rPr>
              <a:t>Step 4: </a:t>
            </a:r>
            <a:r>
              <a:rPr lang="en-US" sz="2800" b="0" dirty="0">
                <a:solidFill>
                  <a:schemeClr val="tx1"/>
                </a:solidFill>
              </a:rPr>
              <a:t>Browse the </a:t>
            </a:r>
            <a:r>
              <a:rPr lang="en-US" sz="2800" b="0" dirty="0">
                <a:solidFill>
                  <a:schemeClr val="tx1"/>
                </a:solidFill>
                <a:hlinkClick r:id="rId6"/>
              </a:rPr>
              <a:t>CS Proactive PO Management</a:t>
            </a:r>
            <a:r>
              <a:rPr lang="en-US" sz="2800" b="0" dirty="0">
                <a:solidFill>
                  <a:schemeClr val="tx1"/>
                </a:solidFill>
              </a:rPr>
              <a:t> and export as summarized data the report on the Follow-up View.</a:t>
            </a:r>
            <a:endParaRPr lang="en-US" sz="2800" dirty="0">
              <a:solidFill>
                <a:schemeClr val="tx1"/>
              </a:solidFill>
            </a:endParaRPr>
          </a:p>
        </p:txBody>
      </p:sp>
      <p:pic>
        <p:nvPicPr>
          <p:cNvPr id="1026" name="Picture 2" descr="Pesky Old-Style Macro Popups — Advanced Maldoc Techniques | by Carrie  Roberts | Walmart Global Tech Blog | Medium">
            <a:extLst>
              <a:ext uri="{FF2B5EF4-FFF2-40B4-BE49-F238E27FC236}">
                <a16:creationId xmlns:a16="http://schemas.microsoft.com/office/drawing/2014/main" id="{D2F81808-1A19-43DA-AF28-DB8880387AD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242" t="7507" r="7539" b="6890"/>
          <a:stretch/>
        </p:blipFill>
        <p:spPr bwMode="auto">
          <a:xfrm>
            <a:off x="6548781" y="1382664"/>
            <a:ext cx="4253949" cy="259561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C3817D5B-1AF9-4157-83E9-F32F433F749A}"/>
              </a:ext>
            </a:extLst>
          </p:cNvPr>
          <p:cNvSpPr/>
          <p:nvPr/>
        </p:nvSpPr>
        <p:spPr>
          <a:xfrm>
            <a:off x="8439451" y="3709675"/>
            <a:ext cx="874303" cy="205100"/>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BBE4820E-A006-423D-9FAA-3968F06A7CB2}"/>
              </a:ext>
            </a:extLst>
          </p:cNvPr>
          <p:cNvPicPr>
            <a:picLocks noChangeAspect="1"/>
          </p:cNvPicPr>
          <p:nvPr/>
        </p:nvPicPr>
        <p:blipFill>
          <a:blip r:embed="rId8"/>
          <a:stretch>
            <a:fillRect/>
          </a:stretch>
        </p:blipFill>
        <p:spPr>
          <a:xfrm>
            <a:off x="524949" y="3638970"/>
            <a:ext cx="5321505" cy="23960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2" name="Rectangle: Rounded Corners 11">
            <a:extLst>
              <a:ext uri="{FF2B5EF4-FFF2-40B4-BE49-F238E27FC236}">
                <a16:creationId xmlns:a16="http://schemas.microsoft.com/office/drawing/2014/main" id="{E4788CB1-4E24-4C03-BEDF-7235D643ADB6}"/>
              </a:ext>
            </a:extLst>
          </p:cNvPr>
          <p:cNvSpPr/>
          <p:nvPr/>
        </p:nvSpPr>
        <p:spPr>
          <a:xfrm>
            <a:off x="5060949" y="4994679"/>
            <a:ext cx="650875" cy="113895"/>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Rounded Corners 12">
            <a:extLst>
              <a:ext uri="{FF2B5EF4-FFF2-40B4-BE49-F238E27FC236}">
                <a16:creationId xmlns:a16="http://schemas.microsoft.com/office/drawing/2014/main" id="{1797B81D-F96F-4B50-A0D6-1490A595FAF0}"/>
              </a:ext>
            </a:extLst>
          </p:cNvPr>
          <p:cNvSpPr/>
          <p:nvPr/>
        </p:nvSpPr>
        <p:spPr>
          <a:xfrm>
            <a:off x="5266983" y="3722931"/>
            <a:ext cx="530568" cy="144220"/>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95144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486474"/>
            <a:ext cx="8978629" cy="663259"/>
          </a:xfrm>
        </p:spPr>
        <p:txBody>
          <a:bodyPr/>
          <a:lstStyle/>
          <a:p>
            <a:r>
              <a:rPr lang="en-US" dirty="0"/>
              <a:t>2.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150031"/>
            <a:ext cx="10101341"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5: </a:t>
            </a:r>
            <a:r>
              <a:rPr lang="en-US" sz="2600" b="0" dirty="0">
                <a:solidFill>
                  <a:schemeClr val="tx1"/>
                </a:solidFill>
              </a:rPr>
              <a:t> Copy the data downloaded to the Data tab in the current file. This will be the information use to create the mass upload.</a:t>
            </a:r>
          </a:p>
        </p:txBody>
      </p:sp>
      <p:sp>
        <p:nvSpPr>
          <p:cNvPr id="12" name="Text Placeholder 1">
            <a:extLst>
              <a:ext uri="{FF2B5EF4-FFF2-40B4-BE49-F238E27FC236}">
                <a16:creationId xmlns:a16="http://schemas.microsoft.com/office/drawing/2014/main" id="{1CBA2BFC-C384-4131-A78D-69F5971FE4C4}"/>
              </a:ext>
            </a:extLst>
          </p:cNvPr>
          <p:cNvSpPr txBox="1">
            <a:spLocks/>
          </p:cNvSpPr>
          <p:nvPr/>
        </p:nvSpPr>
        <p:spPr>
          <a:xfrm>
            <a:off x="480247" y="4192298"/>
            <a:ext cx="10959694"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6: </a:t>
            </a:r>
            <a:r>
              <a:rPr lang="en-US" sz="2600" b="0" dirty="0">
                <a:solidFill>
                  <a:schemeClr val="tx1"/>
                </a:solidFill>
              </a:rPr>
              <a:t>Click the Consolidation Phase Button.</a:t>
            </a:r>
          </a:p>
        </p:txBody>
      </p:sp>
      <p:pic>
        <p:nvPicPr>
          <p:cNvPr id="6" name="Picture 5">
            <a:extLst>
              <a:ext uri="{FF2B5EF4-FFF2-40B4-BE49-F238E27FC236}">
                <a16:creationId xmlns:a16="http://schemas.microsoft.com/office/drawing/2014/main" id="{E05C968A-0A3E-417E-AEAE-E1BCFCA557E7}"/>
              </a:ext>
            </a:extLst>
          </p:cNvPr>
          <p:cNvPicPr>
            <a:picLocks noChangeAspect="1"/>
          </p:cNvPicPr>
          <p:nvPr/>
        </p:nvPicPr>
        <p:blipFill>
          <a:blip r:embed="rId6"/>
          <a:stretch>
            <a:fillRect/>
          </a:stretch>
        </p:blipFill>
        <p:spPr>
          <a:xfrm>
            <a:off x="3559883" y="2014430"/>
            <a:ext cx="3965607" cy="182031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ectangle: Rounded Corners 9">
            <a:extLst>
              <a:ext uri="{FF2B5EF4-FFF2-40B4-BE49-F238E27FC236}">
                <a16:creationId xmlns:a16="http://schemas.microsoft.com/office/drawing/2014/main" id="{22646D52-CF93-4B5E-97E0-CFE1A1BDEFF0}"/>
              </a:ext>
            </a:extLst>
          </p:cNvPr>
          <p:cNvSpPr/>
          <p:nvPr/>
        </p:nvSpPr>
        <p:spPr>
          <a:xfrm>
            <a:off x="4433769" y="3697049"/>
            <a:ext cx="224297" cy="9939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17973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26DB0-4F48-4A60-A028-DB70D851EF57}"/>
              </a:ext>
            </a:extLst>
          </p:cNvPr>
          <p:cNvGraphicFramePr>
            <a:graphicFrameLocks noChangeAspect="1"/>
          </p:cNvGraphicFramePr>
          <p:nvPr>
            <p:custDataLst>
              <p:tags r:id="rId1"/>
            </p:custDataLst>
            <p:extLst>
              <p:ext uri="{D42A27DB-BD31-4B8C-83A1-F6EECF244321}">
                <p14:modId xmlns:p14="http://schemas.microsoft.com/office/powerpoint/2010/main" val="1696869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9C26DB0-4F48-4A60-A028-DB70D851EF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274B575-B31C-415F-AF62-A305A7D4E415}"/>
              </a:ext>
            </a:extLst>
          </p:cNvPr>
          <p:cNvSpPr>
            <a:spLocks noGrp="1"/>
          </p:cNvSpPr>
          <p:nvPr>
            <p:ph type="body" sz="quarter" idx="11"/>
          </p:nvPr>
        </p:nvSpPr>
        <p:spPr>
          <a:xfrm>
            <a:off x="335134" y="486474"/>
            <a:ext cx="8978629" cy="663259"/>
          </a:xfrm>
        </p:spPr>
        <p:txBody>
          <a:bodyPr/>
          <a:lstStyle/>
          <a:p>
            <a:r>
              <a:rPr lang="en-US" dirty="0"/>
              <a:t>2. Notification Phase</a:t>
            </a:r>
          </a:p>
          <a:p>
            <a:endParaRPr lang="en-US" dirty="0"/>
          </a:p>
        </p:txBody>
      </p:sp>
      <p:sp>
        <p:nvSpPr>
          <p:cNvPr id="3" name="Text Placeholder 1">
            <a:extLst>
              <a:ext uri="{FF2B5EF4-FFF2-40B4-BE49-F238E27FC236}">
                <a16:creationId xmlns:a16="http://schemas.microsoft.com/office/drawing/2014/main" id="{9F907A29-1784-4E0C-A8FE-033C7E24E547}"/>
              </a:ext>
            </a:extLst>
          </p:cNvPr>
          <p:cNvSpPr txBox="1">
            <a:spLocks/>
          </p:cNvSpPr>
          <p:nvPr/>
        </p:nvSpPr>
        <p:spPr>
          <a:xfrm>
            <a:off x="524950" y="1150031"/>
            <a:ext cx="10101341" cy="1732319"/>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7: </a:t>
            </a:r>
            <a:r>
              <a:rPr lang="en-US" sz="2600" b="0" dirty="0">
                <a:solidFill>
                  <a:schemeClr val="tx1"/>
                </a:solidFill>
              </a:rPr>
              <a:t> Review the Consolidation Report on the “Consolidation” Tab. Put attention on the “Already delivered” Lines that are shown in column S, these lines were not found in the Report pasted on the data tab and may need to be review by the Agent.</a:t>
            </a:r>
          </a:p>
        </p:txBody>
      </p:sp>
      <p:sp>
        <p:nvSpPr>
          <p:cNvPr id="12" name="Text Placeholder 1">
            <a:extLst>
              <a:ext uri="{FF2B5EF4-FFF2-40B4-BE49-F238E27FC236}">
                <a16:creationId xmlns:a16="http://schemas.microsoft.com/office/drawing/2014/main" id="{1CBA2BFC-C384-4131-A78D-69F5971FE4C4}"/>
              </a:ext>
            </a:extLst>
          </p:cNvPr>
          <p:cNvSpPr txBox="1">
            <a:spLocks/>
          </p:cNvSpPr>
          <p:nvPr/>
        </p:nvSpPr>
        <p:spPr>
          <a:xfrm>
            <a:off x="524950" y="4497098"/>
            <a:ext cx="10959694" cy="841716"/>
          </a:xfrm>
          <a:prstGeom prst="rect">
            <a:avLst/>
          </a:prstGeom>
        </p:spPr>
        <p:txBody>
          <a:bodyPr anchor="t"/>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buFont typeface="Arial" panose="020B0604020202020204" pitchFamily="34" charset="0"/>
              <a:buChar char="•"/>
            </a:pPr>
            <a:r>
              <a:rPr lang="en-US" sz="2600" dirty="0">
                <a:solidFill>
                  <a:schemeClr val="tx1"/>
                </a:solidFill>
              </a:rPr>
              <a:t>Step 6: </a:t>
            </a:r>
            <a:r>
              <a:rPr lang="en-US" sz="2600" b="0" dirty="0">
                <a:solidFill>
                  <a:schemeClr val="tx1"/>
                </a:solidFill>
              </a:rPr>
              <a:t> Review and save the mass upload file created automatically by the macro. Then Submit into SAP through the transaction ZSUP_POACK</a:t>
            </a:r>
          </a:p>
        </p:txBody>
      </p:sp>
      <p:pic>
        <p:nvPicPr>
          <p:cNvPr id="9" name="Picture 8">
            <a:extLst>
              <a:ext uri="{FF2B5EF4-FFF2-40B4-BE49-F238E27FC236}">
                <a16:creationId xmlns:a16="http://schemas.microsoft.com/office/drawing/2014/main" id="{9650552E-6DB0-49FA-BFC0-7CC680D59A56}"/>
              </a:ext>
            </a:extLst>
          </p:cNvPr>
          <p:cNvPicPr>
            <a:picLocks noChangeAspect="1"/>
          </p:cNvPicPr>
          <p:nvPr/>
        </p:nvPicPr>
        <p:blipFill>
          <a:blip r:embed="rId6"/>
          <a:stretch>
            <a:fillRect/>
          </a:stretch>
        </p:blipFill>
        <p:spPr>
          <a:xfrm>
            <a:off x="3979982" y="2433061"/>
            <a:ext cx="5264150" cy="1922027"/>
          </a:xfrm>
          <a:prstGeom prst="rect">
            <a:avLst/>
          </a:prstGeom>
        </p:spPr>
      </p:pic>
      <p:sp>
        <p:nvSpPr>
          <p:cNvPr id="10" name="Rectangle: Rounded Corners 9">
            <a:extLst>
              <a:ext uri="{FF2B5EF4-FFF2-40B4-BE49-F238E27FC236}">
                <a16:creationId xmlns:a16="http://schemas.microsoft.com/office/drawing/2014/main" id="{22646D52-CF93-4B5E-97E0-CFE1A1BDEFF0}"/>
              </a:ext>
            </a:extLst>
          </p:cNvPr>
          <p:cNvSpPr/>
          <p:nvPr/>
        </p:nvSpPr>
        <p:spPr>
          <a:xfrm>
            <a:off x="8344970" y="2521461"/>
            <a:ext cx="899162" cy="129336"/>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Rounded Corners 12">
            <a:extLst>
              <a:ext uri="{FF2B5EF4-FFF2-40B4-BE49-F238E27FC236}">
                <a16:creationId xmlns:a16="http://schemas.microsoft.com/office/drawing/2014/main" id="{A4E33C46-2475-435E-A1B4-2DD3C940FA3D}"/>
              </a:ext>
            </a:extLst>
          </p:cNvPr>
          <p:cNvSpPr/>
          <p:nvPr/>
        </p:nvSpPr>
        <p:spPr>
          <a:xfrm>
            <a:off x="6612057" y="4170537"/>
            <a:ext cx="653931" cy="129336"/>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80988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itle - image">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substitute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Agenda">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Dividers">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s">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Key Statement">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End slides">
  <a:themeElements>
    <a:clrScheme name="GBS colors">
      <a:dk1>
        <a:sysClr val="windowText" lastClr="000000"/>
      </a:dk1>
      <a:lt1>
        <a:srgbClr val="FFFFFF"/>
      </a:lt1>
      <a:dk2>
        <a:srgbClr val="6EDBA4"/>
      </a:dk2>
      <a:lt2>
        <a:srgbClr val="CCCCCC"/>
      </a:lt2>
      <a:accent1>
        <a:srgbClr val="99FFE6"/>
      </a:accent1>
      <a:accent2>
        <a:srgbClr val="FFCC00"/>
      </a:accent2>
      <a:accent3>
        <a:srgbClr val="0A81CC"/>
      </a:accent3>
      <a:accent4>
        <a:srgbClr val="009999"/>
      </a:accent4>
      <a:accent5>
        <a:srgbClr val="00B0F0"/>
      </a:accent5>
      <a:accent6>
        <a:srgbClr val="92D050"/>
      </a:accent6>
      <a:hlink>
        <a:srgbClr val="003399"/>
      </a:hlink>
      <a:folHlink>
        <a:srgbClr val="B13390"/>
      </a:folHlink>
    </a:clrScheme>
    <a:fontScheme name="GBS substitute fonts">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04755BA444C024CA181D609AD1E1CE3" ma:contentTypeVersion="8" ma:contentTypeDescription="Create a new document." ma:contentTypeScope="" ma:versionID="f990a53525147b876876e6ba465afb25">
  <xsd:schema xmlns:xsd="http://www.w3.org/2001/XMLSchema" xmlns:xs="http://www.w3.org/2001/XMLSchema" xmlns:p="http://schemas.microsoft.com/office/2006/metadata/properties" xmlns:ns3="f4f0006f-498d-4116-933e-ac4c8b421262" targetNamespace="http://schemas.microsoft.com/office/2006/metadata/properties" ma:root="true" ma:fieldsID="6a088e8d70705d7b5d0902c9b5666e1c" ns3:_="">
    <xsd:import namespace="f4f0006f-498d-4116-933e-ac4c8b42126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f0006f-498d-4116-933e-ac4c8b4212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E32A54-3295-440A-85EE-64225D929788}">
  <ds:schemaRefs>
    <ds:schemaRef ds:uri="http://schemas.microsoft.com/sharepoint/v3/contenttype/forms"/>
  </ds:schemaRefs>
</ds:datastoreItem>
</file>

<file path=customXml/itemProps2.xml><?xml version="1.0" encoding="utf-8"?>
<ds:datastoreItem xmlns:ds="http://schemas.openxmlformats.org/officeDocument/2006/customXml" ds:itemID="{15AB8550-36F8-4F9B-B583-9D1F7915F1A3}">
  <ds:schemaRefs>
    <ds:schemaRef ds:uri="http://schemas.microsoft.com/office/2006/metadata/properties"/>
    <ds:schemaRef ds:uri="f4f0006f-498d-4116-933e-ac4c8b421262"/>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6B65B826-799E-4EA2-A0DC-E8842AA790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f0006f-498d-4116-933e-ac4c8b4212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bb759f6-5337-4dc5-b19b-e74b6da11f8f}" enabled="1" method="Privileged" siteId="{41ff26dc-250f-4b13-8981-739be8610c21}" contentBits="2" removed="0"/>
</clbl:labelList>
</file>

<file path=docProps/app.xml><?xml version="1.0" encoding="utf-8"?>
<Properties xmlns="http://schemas.openxmlformats.org/officeDocument/2006/extended-properties" xmlns:vt="http://schemas.openxmlformats.org/officeDocument/2006/docPropsVTypes">
  <TotalTime>1337</TotalTime>
  <Words>542</Words>
  <Application>Microsoft Office PowerPoint</Application>
  <PresentationFormat>Widescreen</PresentationFormat>
  <Paragraphs>50</Paragraphs>
  <Slides>9</Slides>
  <Notes>9</Notes>
  <HiddenSlides>0</HiddenSlides>
  <MMClips>0</MMClips>
  <ScaleCrop>false</ScaleCrop>
  <HeadingPairs>
    <vt:vector size="8" baseType="variant">
      <vt:variant>
        <vt:lpstr>Fonts Used</vt:lpstr>
      </vt:variant>
      <vt:variant>
        <vt:i4>3</vt:i4>
      </vt:variant>
      <vt:variant>
        <vt:lpstr>Theme</vt:lpstr>
      </vt:variant>
      <vt:variant>
        <vt:i4>6</vt:i4>
      </vt:variant>
      <vt:variant>
        <vt:lpstr>Embedded OLE Servers</vt:lpstr>
      </vt:variant>
      <vt:variant>
        <vt:i4>1</vt:i4>
      </vt:variant>
      <vt:variant>
        <vt:lpstr>Slide Titles</vt:lpstr>
      </vt:variant>
      <vt:variant>
        <vt:i4>9</vt:i4>
      </vt:variant>
    </vt:vector>
  </HeadingPairs>
  <TitlesOfParts>
    <vt:vector size="19" baseType="lpstr">
      <vt:lpstr>Arial</vt:lpstr>
      <vt:lpstr>Arial Narrow</vt:lpstr>
      <vt:lpstr>Calibri</vt:lpstr>
      <vt:lpstr>1_Title - image</vt:lpstr>
      <vt:lpstr>2_Agenda</vt:lpstr>
      <vt:lpstr>3_Dividers</vt:lpstr>
      <vt:lpstr>Contents</vt:lpstr>
      <vt:lpstr>Key Statement</vt:lpstr>
      <vt:lpstr>End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 Cassange</dc:creator>
  <cp:lastModifiedBy>Daniel Esteban Ortiz Carvajal</cp:lastModifiedBy>
  <cp:revision>43</cp:revision>
  <dcterms:created xsi:type="dcterms:W3CDTF">2020-08-18T16:52:53Z</dcterms:created>
  <dcterms:modified xsi:type="dcterms:W3CDTF">2022-11-11T16:5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5f1f62-8d2b-4457-869c-0a13c6549635_Enabled">
    <vt:lpwstr>True</vt:lpwstr>
  </property>
  <property fmtid="{D5CDD505-2E9C-101B-9397-08002B2CF9AE}" pid="3" name="MSIP_Label_585f1f62-8d2b-4457-869c-0a13c6549635_SiteId">
    <vt:lpwstr>41ff26dc-250f-4b13-8981-739be8610c21</vt:lpwstr>
  </property>
  <property fmtid="{D5CDD505-2E9C-101B-9397-08002B2CF9AE}" pid="4" name="MSIP_Label_585f1f62-8d2b-4457-869c-0a13c6549635_Owner">
    <vt:lpwstr>PCassange@slb.com</vt:lpwstr>
  </property>
  <property fmtid="{D5CDD505-2E9C-101B-9397-08002B2CF9AE}" pid="5" name="MSIP_Label_585f1f62-8d2b-4457-869c-0a13c6549635_SetDate">
    <vt:lpwstr>2020-08-18T16:57:13.1633051Z</vt:lpwstr>
  </property>
  <property fmtid="{D5CDD505-2E9C-101B-9397-08002B2CF9AE}" pid="6" name="MSIP_Label_585f1f62-8d2b-4457-869c-0a13c6549635_Name">
    <vt:lpwstr>Private</vt:lpwstr>
  </property>
  <property fmtid="{D5CDD505-2E9C-101B-9397-08002B2CF9AE}" pid="7" name="MSIP_Label_585f1f62-8d2b-4457-869c-0a13c6549635_Application">
    <vt:lpwstr>Microsoft Azure Information Protection</vt:lpwstr>
  </property>
  <property fmtid="{D5CDD505-2E9C-101B-9397-08002B2CF9AE}" pid="8" name="MSIP_Label_585f1f62-8d2b-4457-869c-0a13c6549635_ActionId">
    <vt:lpwstr>312ae3da-02b0-43ba-b85b-87bd78e733a4</vt:lpwstr>
  </property>
  <property fmtid="{D5CDD505-2E9C-101B-9397-08002B2CF9AE}" pid="9" name="MSIP_Label_585f1f62-8d2b-4457-869c-0a13c6549635_Extended_MSFT_Method">
    <vt:lpwstr>Automatic</vt:lpwstr>
  </property>
  <property fmtid="{D5CDD505-2E9C-101B-9397-08002B2CF9AE}" pid="10" name="MSIP_Label_8bb759f6-5337-4dc5-b19b-e74b6da11f8f_Enabled">
    <vt:lpwstr>True</vt:lpwstr>
  </property>
  <property fmtid="{D5CDD505-2E9C-101B-9397-08002B2CF9AE}" pid="11" name="MSIP_Label_8bb759f6-5337-4dc5-b19b-e74b6da11f8f_SiteId">
    <vt:lpwstr>41ff26dc-250f-4b13-8981-739be8610c21</vt:lpwstr>
  </property>
  <property fmtid="{D5CDD505-2E9C-101B-9397-08002B2CF9AE}" pid="12" name="MSIP_Label_8bb759f6-5337-4dc5-b19b-e74b6da11f8f_Owner">
    <vt:lpwstr>PCassange@slb.com</vt:lpwstr>
  </property>
  <property fmtid="{D5CDD505-2E9C-101B-9397-08002B2CF9AE}" pid="13" name="MSIP_Label_8bb759f6-5337-4dc5-b19b-e74b6da11f8f_SetDate">
    <vt:lpwstr>2020-08-18T16:57:13.1633051Z</vt:lpwstr>
  </property>
  <property fmtid="{D5CDD505-2E9C-101B-9397-08002B2CF9AE}" pid="14" name="MSIP_Label_8bb759f6-5337-4dc5-b19b-e74b6da11f8f_Name">
    <vt:lpwstr>Internal</vt:lpwstr>
  </property>
  <property fmtid="{D5CDD505-2E9C-101B-9397-08002B2CF9AE}" pid="15" name="MSIP_Label_8bb759f6-5337-4dc5-b19b-e74b6da11f8f_Application">
    <vt:lpwstr>Microsoft Azure Information Protection</vt:lpwstr>
  </property>
  <property fmtid="{D5CDD505-2E9C-101B-9397-08002B2CF9AE}" pid="16" name="MSIP_Label_8bb759f6-5337-4dc5-b19b-e74b6da11f8f_ActionId">
    <vt:lpwstr>312ae3da-02b0-43ba-b85b-87bd78e733a4</vt:lpwstr>
  </property>
  <property fmtid="{D5CDD505-2E9C-101B-9397-08002B2CF9AE}" pid="17" name="MSIP_Label_8bb759f6-5337-4dc5-b19b-e74b6da11f8f_Parent">
    <vt:lpwstr>585f1f62-8d2b-4457-869c-0a13c6549635</vt:lpwstr>
  </property>
  <property fmtid="{D5CDD505-2E9C-101B-9397-08002B2CF9AE}" pid="18" name="MSIP_Label_8bb759f6-5337-4dc5-b19b-e74b6da11f8f_Extended_MSFT_Method">
    <vt:lpwstr>Automatic</vt:lpwstr>
  </property>
  <property fmtid="{D5CDD505-2E9C-101B-9397-08002B2CF9AE}" pid="19" name="Sensitivity">
    <vt:lpwstr>Private Internal</vt:lpwstr>
  </property>
  <property fmtid="{D5CDD505-2E9C-101B-9397-08002B2CF9AE}" pid="20" name="ContentTypeId">
    <vt:lpwstr>0x010100E04755BA444C024CA181D609AD1E1CE3</vt:lpwstr>
  </property>
  <property fmtid="{D5CDD505-2E9C-101B-9397-08002B2CF9AE}" pid="21" name="ClassificationContentMarkingFooterLocations">
    <vt:lpwstr>1_Title - image:2\2_Agenda:2\3_Dividers:2\Contents:2\Key Statement:2\End slides:2</vt:lpwstr>
  </property>
  <property fmtid="{D5CDD505-2E9C-101B-9397-08002B2CF9AE}" pid="22" name="ClassificationContentMarkingFooterText">
    <vt:lpwstr>Schlumberger-Private</vt:lpwstr>
  </property>
</Properties>
</file>